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ink/ink1.xml" ContentType="application/inkml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43"/>
  </p:notesMasterIdLst>
  <p:handoutMasterIdLst>
    <p:handoutMasterId r:id="rId44"/>
  </p:handoutMasterIdLst>
  <p:sldIdLst>
    <p:sldId id="257" r:id="rId6"/>
    <p:sldId id="331" r:id="rId7"/>
    <p:sldId id="301" r:id="rId8"/>
    <p:sldId id="259" r:id="rId9"/>
    <p:sldId id="300" r:id="rId10"/>
    <p:sldId id="322" r:id="rId11"/>
    <p:sldId id="323" r:id="rId12"/>
    <p:sldId id="284" r:id="rId13"/>
    <p:sldId id="324" r:id="rId14"/>
    <p:sldId id="262" r:id="rId15"/>
    <p:sldId id="268" r:id="rId16"/>
    <p:sldId id="293" r:id="rId17"/>
    <p:sldId id="269" r:id="rId18"/>
    <p:sldId id="270" r:id="rId19"/>
    <p:sldId id="263" r:id="rId20"/>
    <p:sldId id="272" r:id="rId21"/>
    <p:sldId id="273" r:id="rId22"/>
    <p:sldId id="265" r:id="rId23"/>
    <p:sldId id="291" r:id="rId24"/>
    <p:sldId id="274" r:id="rId25"/>
    <p:sldId id="275" r:id="rId26"/>
    <p:sldId id="276" r:id="rId27"/>
    <p:sldId id="271" r:id="rId28"/>
    <p:sldId id="290" r:id="rId29"/>
    <p:sldId id="289" r:id="rId30"/>
    <p:sldId id="277" r:id="rId31"/>
    <p:sldId id="321" r:id="rId32"/>
    <p:sldId id="286" r:id="rId33"/>
    <p:sldId id="326" r:id="rId34"/>
    <p:sldId id="325" r:id="rId35"/>
    <p:sldId id="335" r:id="rId36"/>
    <p:sldId id="337" r:id="rId37"/>
    <p:sldId id="332" r:id="rId38"/>
    <p:sldId id="333" r:id="rId39"/>
    <p:sldId id="334" r:id="rId40"/>
    <p:sldId id="336" r:id="rId41"/>
    <p:sldId id="330" r:id="rId42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7" autoAdjust="0"/>
    <p:restoredTop sz="89152" autoAdjust="0"/>
  </p:normalViewPr>
  <p:slideViewPr>
    <p:cSldViewPr snapToGrid="0">
      <p:cViewPr varScale="1">
        <p:scale>
          <a:sx n="59" d="100"/>
          <a:sy n="59" d="100"/>
        </p:scale>
        <p:origin x="77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CA6E00-31E6-45EA-B6E9-40AF3F53A484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648B9298-D6BF-4B75-8ED2-43AE5FB8DF3C}">
      <dgm:prSet phldrT="[Text]" custT="1"/>
      <dgm:spPr/>
      <dgm:t>
        <a:bodyPr/>
        <a:lstStyle/>
        <a:p>
          <a:r>
            <a:rPr lang="nb-NO" sz="800" b="1"/>
            <a:t>Registrere meg</a:t>
          </a:r>
        </a:p>
      </dgm:t>
    </dgm:pt>
    <dgm:pt modelId="{E2B2C2B0-DBC2-47FB-B782-433DC33B0C72}" type="parTrans" cxnId="{E2F88E56-E1BF-475C-9809-E3E13A94F152}">
      <dgm:prSet/>
      <dgm:spPr/>
      <dgm:t>
        <a:bodyPr/>
        <a:lstStyle/>
        <a:p>
          <a:endParaRPr lang="nb-NO" sz="2800"/>
        </a:p>
      </dgm:t>
    </dgm:pt>
    <dgm:pt modelId="{9338C507-7FC8-4D3E-AD95-D5DC380868EA}" type="sibTrans" cxnId="{E2F88E56-E1BF-475C-9809-E3E13A94F152}">
      <dgm:prSet custT="1"/>
      <dgm:spPr/>
      <dgm:t>
        <a:bodyPr/>
        <a:lstStyle/>
        <a:p>
          <a:endParaRPr lang="nb-NO" sz="700"/>
        </a:p>
      </dgm:t>
    </dgm:pt>
    <dgm:pt modelId="{E27AD9CD-E918-4096-9725-28FDB5C18080}">
      <dgm:prSet phldrT="[Text]" custT="1"/>
      <dgm:spPr/>
      <dgm:t>
        <a:bodyPr/>
        <a:lstStyle/>
        <a:p>
          <a:r>
            <a:rPr lang="nb-NO" sz="800"/>
            <a:t>Undervisning</a:t>
          </a:r>
        </a:p>
      </dgm:t>
    </dgm:pt>
    <dgm:pt modelId="{6C2A0D0D-AE04-46DC-9A46-076F8B231622}" type="parTrans" cxnId="{0728A242-01E7-46A3-BF13-2163729BAAC6}">
      <dgm:prSet/>
      <dgm:spPr/>
      <dgm:t>
        <a:bodyPr/>
        <a:lstStyle/>
        <a:p>
          <a:endParaRPr lang="nb-NO" sz="2800"/>
        </a:p>
      </dgm:t>
    </dgm:pt>
    <dgm:pt modelId="{E2896BC1-F53F-4641-BA07-397A7EBE457F}" type="sibTrans" cxnId="{0728A242-01E7-46A3-BF13-2163729BAAC6}">
      <dgm:prSet/>
      <dgm:spPr/>
      <dgm:t>
        <a:bodyPr/>
        <a:lstStyle/>
        <a:p>
          <a:endParaRPr lang="nb-NO" sz="2800"/>
        </a:p>
      </dgm:t>
    </dgm:pt>
    <dgm:pt modelId="{69BFD61B-0B34-40DB-9F94-ABE9523C67E3}">
      <dgm:prSet phldrT="[Text]" custT="1"/>
      <dgm:spPr/>
      <dgm:t>
        <a:bodyPr/>
        <a:lstStyle/>
        <a:p>
          <a:r>
            <a:rPr lang="nb-NO" sz="800" b="1"/>
            <a:t>Administrere</a:t>
          </a:r>
        </a:p>
      </dgm:t>
    </dgm:pt>
    <dgm:pt modelId="{12C854AB-BBC5-449B-A13F-84BEA7CF9E15}" type="parTrans" cxnId="{F004C100-5B91-4F73-B500-25ABE7EE85BF}">
      <dgm:prSet/>
      <dgm:spPr/>
      <dgm:t>
        <a:bodyPr/>
        <a:lstStyle/>
        <a:p>
          <a:endParaRPr lang="nb-NO" sz="2800"/>
        </a:p>
      </dgm:t>
    </dgm:pt>
    <dgm:pt modelId="{44D33DA9-3678-4B2E-9C35-52E35E18B822}" type="sibTrans" cxnId="{F004C100-5B91-4F73-B500-25ABE7EE85BF}">
      <dgm:prSet custT="1"/>
      <dgm:spPr/>
      <dgm:t>
        <a:bodyPr/>
        <a:lstStyle/>
        <a:p>
          <a:endParaRPr lang="nb-NO" sz="700"/>
        </a:p>
      </dgm:t>
    </dgm:pt>
    <dgm:pt modelId="{47630ADC-42C7-417A-9518-430E59300D35}">
      <dgm:prSet phldrT="[Text]" custT="1"/>
      <dgm:spPr/>
      <dgm:t>
        <a:bodyPr/>
        <a:lstStyle/>
        <a:p>
          <a:r>
            <a:rPr lang="nb-NO" sz="800"/>
            <a:t>Informasjon fra studiekonsulent</a:t>
          </a:r>
        </a:p>
      </dgm:t>
    </dgm:pt>
    <dgm:pt modelId="{8790FC66-A9B5-48E3-A584-F3F7ABC86FF6}" type="parTrans" cxnId="{5D3F05E1-EADB-4BCE-9C70-993DF4427F27}">
      <dgm:prSet/>
      <dgm:spPr/>
      <dgm:t>
        <a:bodyPr/>
        <a:lstStyle/>
        <a:p>
          <a:endParaRPr lang="nb-NO" sz="2800"/>
        </a:p>
      </dgm:t>
    </dgm:pt>
    <dgm:pt modelId="{625CF763-32F2-431E-A686-AD1680A2C4DC}" type="sibTrans" cxnId="{5D3F05E1-EADB-4BCE-9C70-993DF4427F27}">
      <dgm:prSet/>
      <dgm:spPr/>
      <dgm:t>
        <a:bodyPr/>
        <a:lstStyle/>
        <a:p>
          <a:endParaRPr lang="nb-NO" sz="2800"/>
        </a:p>
      </dgm:t>
    </dgm:pt>
    <dgm:pt modelId="{C5555EF9-9BED-41D9-9638-9F506CA8B6FC}">
      <dgm:prSet phldrT="[Text]" custT="1"/>
      <dgm:spPr/>
      <dgm:t>
        <a:bodyPr/>
        <a:lstStyle/>
        <a:p>
          <a:pPr rtl="0"/>
          <a:r>
            <a:rPr lang="nb-NO" sz="800"/>
            <a:t>Eksamen</a:t>
          </a:r>
          <a:r>
            <a:rPr lang="nb-NO" sz="800">
              <a:latin typeface="Arial"/>
            </a:rPr>
            <a:t> </a:t>
          </a:r>
          <a:endParaRPr lang="nb-NO" sz="800"/>
        </a:p>
      </dgm:t>
    </dgm:pt>
    <dgm:pt modelId="{30CB0598-3661-4BCF-99A8-4C5E0764AD84}" type="parTrans" cxnId="{63B99148-939D-4CFC-83D0-065C0601D7B3}">
      <dgm:prSet/>
      <dgm:spPr/>
      <dgm:t>
        <a:bodyPr/>
        <a:lstStyle/>
        <a:p>
          <a:endParaRPr lang="nb-NO" sz="2800"/>
        </a:p>
      </dgm:t>
    </dgm:pt>
    <dgm:pt modelId="{04595E9C-D77F-4490-8E7A-7F8CACA833E7}" type="sibTrans" cxnId="{63B99148-939D-4CFC-83D0-065C0601D7B3}">
      <dgm:prSet/>
      <dgm:spPr/>
      <dgm:t>
        <a:bodyPr/>
        <a:lstStyle/>
        <a:p>
          <a:endParaRPr lang="nb-NO" sz="2800"/>
        </a:p>
      </dgm:t>
    </dgm:pt>
    <dgm:pt modelId="{6D0DC85C-AEB2-4987-9873-59F025CFB026}">
      <dgm:prSet phldrT="[Text]" custT="1"/>
      <dgm:spPr/>
      <dgm:t>
        <a:bodyPr/>
        <a:lstStyle/>
        <a:p>
          <a:r>
            <a:rPr lang="nb-NO" sz="800" b="1"/>
            <a:t>Finne studieinfo</a:t>
          </a:r>
        </a:p>
      </dgm:t>
    </dgm:pt>
    <dgm:pt modelId="{7D8B46FE-8870-47C5-A133-492ECA3EE353}" type="parTrans" cxnId="{84B7CB55-EF15-4A27-889B-C232BA34F1AD}">
      <dgm:prSet/>
      <dgm:spPr/>
      <dgm:t>
        <a:bodyPr/>
        <a:lstStyle/>
        <a:p>
          <a:endParaRPr lang="nb-NO" sz="2800"/>
        </a:p>
      </dgm:t>
    </dgm:pt>
    <dgm:pt modelId="{2FDBB84E-7516-4C31-8872-C61B919B7937}" type="sibTrans" cxnId="{84B7CB55-EF15-4A27-889B-C232BA34F1AD}">
      <dgm:prSet custT="1"/>
      <dgm:spPr/>
      <dgm:t>
        <a:bodyPr/>
        <a:lstStyle/>
        <a:p>
          <a:endParaRPr lang="nb-NO" sz="700"/>
        </a:p>
      </dgm:t>
    </dgm:pt>
    <dgm:pt modelId="{A551A55C-2A9D-4A67-B8CD-85821AF6778C}">
      <dgm:prSet phldrT="[Text]" custT="1"/>
      <dgm:spPr/>
      <dgm:t>
        <a:bodyPr/>
        <a:lstStyle/>
        <a:p>
          <a:r>
            <a:rPr lang="nb-NO" sz="800" b="1"/>
            <a:t>Ta eksamen</a:t>
          </a:r>
        </a:p>
      </dgm:t>
    </dgm:pt>
    <dgm:pt modelId="{656FC16C-8862-4DC3-9818-161BCBF690D1}" type="parTrans" cxnId="{1ACAC3E9-836C-4065-8C50-F206E74554F7}">
      <dgm:prSet/>
      <dgm:spPr/>
      <dgm:t>
        <a:bodyPr/>
        <a:lstStyle/>
        <a:p>
          <a:endParaRPr lang="nb-NO" sz="2800"/>
        </a:p>
      </dgm:t>
    </dgm:pt>
    <dgm:pt modelId="{EE7F381D-9ADE-4B1F-A984-29EC71E34DE0}" type="sibTrans" cxnId="{1ACAC3E9-836C-4065-8C50-F206E74554F7}">
      <dgm:prSet/>
      <dgm:spPr/>
      <dgm:t>
        <a:bodyPr/>
        <a:lstStyle/>
        <a:p>
          <a:endParaRPr lang="nb-NO" sz="2800"/>
        </a:p>
      </dgm:t>
    </dgm:pt>
    <dgm:pt modelId="{48A13873-8103-4951-BF00-33B68C96ACD0}">
      <dgm:prSet phldrT="[Text]" custT="1"/>
      <dgm:spPr/>
      <dgm:t>
        <a:bodyPr/>
        <a:lstStyle/>
        <a:p>
          <a:r>
            <a:rPr lang="nb-NO" sz="800"/>
            <a:t>Samarbeide med medstudenter</a:t>
          </a:r>
        </a:p>
      </dgm:t>
    </dgm:pt>
    <dgm:pt modelId="{CA842DE2-6DCE-4A91-9935-678590603B95}" type="parTrans" cxnId="{9EADF157-CFAB-49B2-8A51-3817C43B2FBD}">
      <dgm:prSet/>
      <dgm:spPr/>
      <dgm:t>
        <a:bodyPr/>
        <a:lstStyle/>
        <a:p>
          <a:endParaRPr lang="nb-NO" sz="2800"/>
        </a:p>
      </dgm:t>
    </dgm:pt>
    <dgm:pt modelId="{DF869449-B516-4517-929B-5E8546CF130E}" type="sibTrans" cxnId="{9EADF157-CFAB-49B2-8A51-3817C43B2FBD}">
      <dgm:prSet/>
      <dgm:spPr/>
      <dgm:t>
        <a:bodyPr/>
        <a:lstStyle/>
        <a:p>
          <a:endParaRPr lang="nb-NO" sz="2800"/>
        </a:p>
      </dgm:t>
    </dgm:pt>
    <dgm:pt modelId="{C5578AA9-EEFB-44C1-8914-C70771D992DC}">
      <dgm:prSet phldrT="[Text]" custT="1"/>
      <dgm:spPr/>
      <dgm:t>
        <a:bodyPr/>
        <a:lstStyle/>
        <a:p>
          <a:r>
            <a:rPr lang="nb-NO" sz="800"/>
            <a:t>Timeplan</a:t>
          </a:r>
        </a:p>
      </dgm:t>
    </dgm:pt>
    <dgm:pt modelId="{E2196FCB-6871-436E-BB1F-626702E8A51D}" type="parTrans" cxnId="{0DA995E4-07E4-4B63-A6BD-C8747CBBE84F}">
      <dgm:prSet/>
      <dgm:spPr/>
      <dgm:t>
        <a:bodyPr/>
        <a:lstStyle/>
        <a:p>
          <a:endParaRPr lang="nb-NO" sz="2800"/>
        </a:p>
      </dgm:t>
    </dgm:pt>
    <dgm:pt modelId="{ADB5E01C-93E5-43D6-B089-76B9A3CEAB16}" type="sibTrans" cxnId="{0DA995E4-07E4-4B63-A6BD-C8747CBBE84F}">
      <dgm:prSet/>
      <dgm:spPr/>
      <dgm:t>
        <a:bodyPr/>
        <a:lstStyle/>
        <a:p>
          <a:endParaRPr lang="nb-NO" sz="2800"/>
        </a:p>
      </dgm:t>
    </dgm:pt>
    <dgm:pt modelId="{4787A268-48B9-40EC-948D-3E3BB09B26A1}">
      <dgm:prSet phldrT="[Text]" custT="1"/>
      <dgm:spPr/>
      <dgm:t>
        <a:bodyPr/>
        <a:lstStyle/>
        <a:p>
          <a:r>
            <a:rPr lang="nb-NO" sz="800"/>
            <a:t>Finne tid og sted</a:t>
          </a:r>
        </a:p>
      </dgm:t>
    </dgm:pt>
    <dgm:pt modelId="{A7D240D9-822F-400B-9D93-F3CE9E152425}" type="parTrans" cxnId="{A69A7C9C-9FAA-4320-9E94-04F90B54A174}">
      <dgm:prSet/>
      <dgm:spPr/>
      <dgm:t>
        <a:bodyPr/>
        <a:lstStyle/>
        <a:p>
          <a:endParaRPr lang="nb-NO" sz="2800"/>
        </a:p>
      </dgm:t>
    </dgm:pt>
    <dgm:pt modelId="{C69FB417-2CFB-40A1-B81D-39F40BC72035}" type="sibTrans" cxnId="{A69A7C9C-9FAA-4320-9E94-04F90B54A174}">
      <dgm:prSet/>
      <dgm:spPr/>
      <dgm:t>
        <a:bodyPr/>
        <a:lstStyle/>
        <a:p>
          <a:endParaRPr lang="nb-NO" sz="2800"/>
        </a:p>
      </dgm:t>
    </dgm:pt>
    <dgm:pt modelId="{A4F44625-2E95-47AF-B955-157DE2F4986A}">
      <dgm:prSet phldrT="[Text]" custT="1"/>
      <dgm:spPr/>
      <dgm:t>
        <a:bodyPr/>
        <a:lstStyle/>
        <a:p>
          <a:r>
            <a:rPr lang="nb-NO" sz="800" b="1"/>
            <a:t>Ha studentliv</a:t>
          </a:r>
        </a:p>
      </dgm:t>
    </dgm:pt>
    <dgm:pt modelId="{F34F314D-7A9B-421C-9303-0EDA25B90D04}" type="parTrans" cxnId="{7EBFCD2B-65F1-4FE7-AFF5-D5D24252718E}">
      <dgm:prSet/>
      <dgm:spPr/>
      <dgm:t>
        <a:bodyPr/>
        <a:lstStyle/>
        <a:p>
          <a:endParaRPr lang="nb-NO" sz="2800"/>
        </a:p>
      </dgm:t>
    </dgm:pt>
    <dgm:pt modelId="{FA3FC1EF-F696-4522-BF2B-3B6CF0FC0728}" type="sibTrans" cxnId="{7EBFCD2B-65F1-4FE7-AFF5-D5D24252718E}">
      <dgm:prSet custT="1"/>
      <dgm:spPr/>
      <dgm:t>
        <a:bodyPr/>
        <a:lstStyle/>
        <a:p>
          <a:endParaRPr lang="nb-NO" sz="700"/>
        </a:p>
      </dgm:t>
    </dgm:pt>
    <dgm:pt modelId="{FE1DFE62-6502-451A-AFB6-91922BE3394D}">
      <dgm:prSet phldrT="[Text]" custT="1"/>
      <dgm:spPr/>
      <dgm:t>
        <a:bodyPr/>
        <a:lstStyle/>
        <a:p>
          <a:r>
            <a:rPr lang="nb-NO" sz="800"/>
            <a:t>Program/emne-beskrivelser</a:t>
          </a:r>
        </a:p>
      </dgm:t>
    </dgm:pt>
    <dgm:pt modelId="{0D9BC054-B977-487E-AD7F-DC97AB76879A}" type="parTrans" cxnId="{BFE9B87D-197B-4F88-9D39-4664A5785E60}">
      <dgm:prSet/>
      <dgm:spPr/>
      <dgm:t>
        <a:bodyPr/>
        <a:lstStyle/>
        <a:p>
          <a:endParaRPr lang="nb-NO" sz="2800"/>
        </a:p>
      </dgm:t>
    </dgm:pt>
    <dgm:pt modelId="{1CCA4B49-8470-46A3-A07B-9D82C31C4631}" type="sibTrans" cxnId="{BFE9B87D-197B-4F88-9D39-4664A5785E60}">
      <dgm:prSet/>
      <dgm:spPr/>
      <dgm:t>
        <a:bodyPr/>
        <a:lstStyle/>
        <a:p>
          <a:endParaRPr lang="nb-NO" sz="2800"/>
        </a:p>
      </dgm:t>
    </dgm:pt>
    <dgm:pt modelId="{E1757A10-9EF5-4281-B27A-179FB9179F3C}">
      <dgm:prSet phldrT="[Text]" custT="1"/>
      <dgm:spPr/>
      <dgm:t>
        <a:bodyPr/>
        <a:lstStyle/>
        <a:p>
          <a:r>
            <a:rPr lang="nb-NO" sz="800"/>
            <a:t>Søke permisjon</a:t>
          </a:r>
        </a:p>
      </dgm:t>
    </dgm:pt>
    <dgm:pt modelId="{9118E278-DACF-4DB9-970D-5F306C3D3FA6}" type="parTrans" cxnId="{F5D0E266-334D-4C69-A9E6-E87FA33A13ED}">
      <dgm:prSet/>
      <dgm:spPr/>
      <dgm:t>
        <a:bodyPr/>
        <a:lstStyle/>
        <a:p>
          <a:endParaRPr lang="nb-NO" sz="2800"/>
        </a:p>
      </dgm:t>
    </dgm:pt>
    <dgm:pt modelId="{5DF1171E-14B4-48C0-BB17-76E228A04808}" type="sibTrans" cxnId="{F5D0E266-334D-4C69-A9E6-E87FA33A13ED}">
      <dgm:prSet/>
      <dgm:spPr/>
      <dgm:t>
        <a:bodyPr/>
        <a:lstStyle/>
        <a:p>
          <a:endParaRPr lang="nb-NO" sz="2800"/>
        </a:p>
      </dgm:t>
    </dgm:pt>
    <dgm:pt modelId="{2AD4374B-A1C4-4F6E-BF27-AEF1C53C5BD5}">
      <dgm:prSet phldrT="[Text]" custT="1"/>
      <dgm:spPr/>
      <dgm:t>
        <a:bodyPr/>
        <a:lstStyle/>
        <a:p>
          <a:r>
            <a:rPr lang="nb-NO" sz="800" b="1"/>
            <a:t>Studere</a:t>
          </a:r>
        </a:p>
      </dgm:t>
    </dgm:pt>
    <dgm:pt modelId="{9E2CEF27-B12B-4FAD-85E9-289088E258BC}" type="parTrans" cxnId="{5A1B3383-61B1-4620-AF13-63630CDCD776}">
      <dgm:prSet/>
      <dgm:spPr/>
      <dgm:t>
        <a:bodyPr/>
        <a:lstStyle/>
        <a:p>
          <a:endParaRPr lang="nb-NO" sz="2800"/>
        </a:p>
      </dgm:t>
    </dgm:pt>
    <dgm:pt modelId="{11C35859-1F3A-41CE-978C-339E4B9950EB}" type="sibTrans" cxnId="{5A1B3383-61B1-4620-AF13-63630CDCD776}">
      <dgm:prSet custT="1"/>
      <dgm:spPr/>
      <dgm:t>
        <a:bodyPr/>
        <a:lstStyle/>
        <a:p>
          <a:endParaRPr lang="nb-NO" sz="700"/>
        </a:p>
      </dgm:t>
    </dgm:pt>
    <dgm:pt modelId="{1F1F4C4B-DCD3-4D83-A24E-D83E8D292CFD}">
      <dgm:prSet phldrT="[Text]" custT="1"/>
      <dgm:spPr/>
      <dgm:t>
        <a:bodyPr/>
        <a:lstStyle/>
        <a:p>
          <a:r>
            <a:rPr lang="nb-NO" sz="800"/>
            <a:t>Kommunisere med faglærer</a:t>
          </a:r>
        </a:p>
      </dgm:t>
    </dgm:pt>
    <dgm:pt modelId="{0FCD4B27-6A05-4D89-AF74-28AFF5F08D57}" type="parTrans" cxnId="{75BC6795-8B61-4A9A-87A3-F1FE33AE32CE}">
      <dgm:prSet/>
      <dgm:spPr/>
      <dgm:t>
        <a:bodyPr/>
        <a:lstStyle/>
        <a:p>
          <a:endParaRPr lang="nb-NO" sz="2800"/>
        </a:p>
      </dgm:t>
    </dgm:pt>
    <dgm:pt modelId="{963B5821-66AC-40B6-88EE-5469E1E22101}" type="sibTrans" cxnId="{75BC6795-8B61-4A9A-87A3-F1FE33AE32CE}">
      <dgm:prSet/>
      <dgm:spPr/>
      <dgm:t>
        <a:bodyPr/>
        <a:lstStyle/>
        <a:p>
          <a:endParaRPr lang="nb-NO" sz="2800"/>
        </a:p>
      </dgm:t>
    </dgm:pt>
    <dgm:pt modelId="{17A3E598-3AF2-4185-AF81-C3D19C1F4A98}">
      <dgm:prSet phldrT="[Text]" custT="1"/>
      <dgm:spPr/>
      <dgm:t>
        <a:bodyPr/>
        <a:lstStyle/>
        <a:p>
          <a:r>
            <a:rPr lang="nb-NO" sz="800"/>
            <a:t>Levere oppgaver</a:t>
          </a:r>
        </a:p>
      </dgm:t>
    </dgm:pt>
    <dgm:pt modelId="{64E2453B-3DF5-4981-992D-1EED975B38FD}" type="parTrans" cxnId="{A0C0FAB8-FC6C-46DA-B481-A9A9BC531DB8}">
      <dgm:prSet/>
      <dgm:spPr/>
      <dgm:t>
        <a:bodyPr/>
        <a:lstStyle/>
        <a:p>
          <a:endParaRPr lang="nb-NO" sz="2800"/>
        </a:p>
      </dgm:t>
    </dgm:pt>
    <dgm:pt modelId="{B0728A7D-A1F8-48A1-8106-4C86BE2372A0}" type="sibTrans" cxnId="{A0C0FAB8-FC6C-46DA-B481-A9A9BC531DB8}">
      <dgm:prSet/>
      <dgm:spPr/>
      <dgm:t>
        <a:bodyPr/>
        <a:lstStyle/>
        <a:p>
          <a:endParaRPr lang="nb-NO" sz="2800"/>
        </a:p>
      </dgm:t>
    </dgm:pt>
    <dgm:pt modelId="{FD57C624-8E0D-4D14-8523-34648EB51DC2}">
      <dgm:prSet phldrT="[Text]" custT="1"/>
      <dgm:spPr/>
      <dgm:t>
        <a:bodyPr/>
        <a:lstStyle/>
        <a:p>
          <a:r>
            <a:rPr lang="nb-NO" sz="800"/>
            <a:t>Finne ut hva som skjer på campus</a:t>
          </a:r>
        </a:p>
      </dgm:t>
    </dgm:pt>
    <dgm:pt modelId="{6D49B702-4D61-4BD8-B450-562317769B40}" type="parTrans" cxnId="{94B9D44A-4CD9-4C67-B180-DABF8E49E416}">
      <dgm:prSet/>
      <dgm:spPr/>
      <dgm:t>
        <a:bodyPr/>
        <a:lstStyle/>
        <a:p>
          <a:endParaRPr lang="nb-NO" sz="2800"/>
        </a:p>
      </dgm:t>
    </dgm:pt>
    <dgm:pt modelId="{72645802-9CBD-4613-82DC-F83366C826DF}" type="sibTrans" cxnId="{94B9D44A-4CD9-4C67-B180-DABF8E49E416}">
      <dgm:prSet/>
      <dgm:spPr/>
      <dgm:t>
        <a:bodyPr/>
        <a:lstStyle/>
        <a:p>
          <a:endParaRPr lang="nb-NO" sz="2800"/>
        </a:p>
      </dgm:t>
    </dgm:pt>
    <dgm:pt modelId="{CED84A24-7646-4428-99BA-37FBA9F00C27}">
      <dgm:prSet phldrT="[Text]" custT="1"/>
      <dgm:spPr/>
      <dgm:t>
        <a:bodyPr/>
        <a:lstStyle/>
        <a:p>
          <a:r>
            <a:rPr lang="nb-NO" sz="800"/>
            <a:t>Delta i foreninger mm</a:t>
          </a:r>
        </a:p>
      </dgm:t>
    </dgm:pt>
    <dgm:pt modelId="{2F45E57E-94D8-48B1-9E9A-DDFB06D5C31B}" type="parTrans" cxnId="{F200FCA2-5095-41BF-B45B-9ECF9A6E6243}">
      <dgm:prSet/>
      <dgm:spPr/>
      <dgm:t>
        <a:bodyPr/>
        <a:lstStyle/>
        <a:p>
          <a:endParaRPr lang="nb-NO" sz="2800"/>
        </a:p>
      </dgm:t>
    </dgm:pt>
    <dgm:pt modelId="{FD8740B4-EAAF-4DD3-8EEC-6C6ECFC97B4E}" type="sibTrans" cxnId="{F200FCA2-5095-41BF-B45B-9ECF9A6E6243}">
      <dgm:prSet/>
      <dgm:spPr/>
      <dgm:t>
        <a:bodyPr/>
        <a:lstStyle/>
        <a:p>
          <a:endParaRPr lang="nb-NO" sz="2800"/>
        </a:p>
      </dgm:t>
    </dgm:pt>
    <dgm:pt modelId="{3A2878EF-317A-4A4C-B992-0BDEBBF76D4B}">
      <dgm:prSet phldrT="[Text]" custT="1"/>
      <dgm:spPr/>
      <dgm:t>
        <a:bodyPr/>
        <a:lstStyle/>
        <a:p>
          <a:r>
            <a:rPr lang="nb-NO" sz="800"/>
            <a:t>Avlegge digital eksamen</a:t>
          </a:r>
        </a:p>
      </dgm:t>
    </dgm:pt>
    <dgm:pt modelId="{C9145B49-FD76-4115-A4D1-B8C39FC0E905}" type="parTrans" cxnId="{9F453162-1AD8-4EA3-A385-D62714BD37AF}">
      <dgm:prSet/>
      <dgm:spPr/>
      <dgm:t>
        <a:bodyPr/>
        <a:lstStyle/>
        <a:p>
          <a:endParaRPr lang="nb-NO" sz="2800"/>
        </a:p>
      </dgm:t>
    </dgm:pt>
    <dgm:pt modelId="{DB05FCF2-6E5F-4728-BD65-C9A06DDF2E55}" type="sibTrans" cxnId="{9F453162-1AD8-4EA3-A385-D62714BD37AF}">
      <dgm:prSet/>
      <dgm:spPr/>
      <dgm:t>
        <a:bodyPr/>
        <a:lstStyle/>
        <a:p>
          <a:endParaRPr lang="nb-NO" sz="2800"/>
        </a:p>
      </dgm:t>
    </dgm:pt>
    <dgm:pt modelId="{4C6A1519-A50B-4DF9-86CE-317A5693B3B6}">
      <dgm:prSet phldrT="[Text]" custT="1"/>
      <dgm:spPr/>
      <dgm:t>
        <a:bodyPr/>
        <a:lstStyle/>
        <a:p>
          <a:r>
            <a:rPr lang="nb-NO" sz="800"/>
            <a:t>Be om begrunnelse og klage</a:t>
          </a:r>
        </a:p>
      </dgm:t>
    </dgm:pt>
    <dgm:pt modelId="{2D366B23-DACE-4B33-B28D-D3E94269D51D}" type="parTrans" cxnId="{4BF45FB8-CF5B-42DF-9DE2-BC5272765957}">
      <dgm:prSet/>
      <dgm:spPr/>
      <dgm:t>
        <a:bodyPr/>
        <a:lstStyle/>
        <a:p>
          <a:endParaRPr lang="nb-NO" sz="2800"/>
        </a:p>
      </dgm:t>
    </dgm:pt>
    <dgm:pt modelId="{0CE39C57-94DD-41EB-8F1C-EC2793FA6CDF}" type="sibTrans" cxnId="{4BF45FB8-CF5B-42DF-9DE2-BC5272765957}">
      <dgm:prSet/>
      <dgm:spPr/>
      <dgm:t>
        <a:bodyPr/>
        <a:lstStyle/>
        <a:p>
          <a:endParaRPr lang="nb-NO" sz="2800"/>
        </a:p>
      </dgm:t>
    </dgm:pt>
    <dgm:pt modelId="{46A09C56-69D5-42BA-A142-A064B5A1E219}">
      <dgm:prSet phldrT="[Text]" custT="1"/>
      <dgm:spPr/>
      <dgm:t>
        <a:bodyPr/>
        <a:lstStyle/>
        <a:p>
          <a:r>
            <a:rPr lang="nb-NO" sz="800"/>
            <a:t>…</a:t>
          </a:r>
        </a:p>
      </dgm:t>
    </dgm:pt>
    <dgm:pt modelId="{65400728-0F4D-4B5E-B0F2-B8883107249E}" type="parTrans" cxnId="{2677C918-25BE-489D-815B-79643E285FEE}">
      <dgm:prSet/>
      <dgm:spPr/>
      <dgm:t>
        <a:bodyPr/>
        <a:lstStyle/>
        <a:p>
          <a:endParaRPr lang="nb-NO" sz="2000"/>
        </a:p>
      </dgm:t>
    </dgm:pt>
    <dgm:pt modelId="{0057163E-C41E-49A1-803D-D21C83B7ABF2}" type="sibTrans" cxnId="{2677C918-25BE-489D-815B-79643E285FEE}">
      <dgm:prSet/>
      <dgm:spPr/>
      <dgm:t>
        <a:bodyPr/>
        <a:lstStyle/>
        <a:p>
          <a:endParaRPr lang="nb-NO" sz="2000"/>
        </a:p>
      </dgm:t>
    </dgm:pt>
    <dgm:pt modelId="{9DA12115-7C9E-4FBB-BB89-6CE2AA7927ED}">
      <dgm:prSet phldrT="[Text]" custT="1"/>
      <dgm:spPr/>
      <dgm:t>
        <a:bodyPr/>
        <a:lstStyle/>
        <a:p>
          <a:r>
            <a:rPr lang="nb-NO" sz="800" b="1"/>
            <a:t>Finne studiemateriell</a:t>
          </a:r>
        </a:p>
      </dgm:t>
    </dgm:pt>
    <dgm:pt modelId="{579B8397-4B44-4AF0-AF81-DF5D0E929B35}" type="parTrans" cxnId="{3D024499-71E3-4C75-A01B-46BD463F281C}">
      <dgm:prSet/>
      <dgm:spPr/>
      <dgm:t>
        <a:bodyPr/>
        <a:lstStyle/>
        <a:p>
          <a:endParaRPr lang="nb-NO" sz="2000"/>
        </a:p>
      </dgm:t>
    </dgm:pt>
    <dgm:pt modelId="{EF5F5AFA-4E60-4F99-BA57-6CB53A590CF6}" type="sibTrans" cxnId="{3D024499-71E3-4C75-A01B-46BD463F281C}">
      <dgm:prSet/>
      <dgm:spPr/>
      <dgm:t>
        <a:bodyPr/>
        <a:lstStyle/>
        <a:p>
          <a:endParaRPr lang="nb-NO" sz="2000"/>
        </a:p>
      </dgm:t>
    </dgm:pt>
    <dgm:pt modelId="{FBF4A721-CBA2-4C01-AE1E-5C8BAB6CEF8F}">
      <dgm:prSet phldrT="[Text]" custT="1"/>
      <dgm:spPr/>
      <dgm:t>
        <a:bodyPr/>
        <a:lstStyle/>
        <a:p>
          <a:r>
            <a:rPr lang="nb-NO" sz="800"/>
            <a:t>Pensum</a:t>
          </a:r>
        </a:p>
      </dgm:t>
    </dgm:pt>
    <dgm:pt modelId="{518DC566-F446-4DA1-8D55-2898585AC29B}" type="parTrans" cxnId="{074BF0E6-BB76-4DD9-A1BD-97B465172288}">
      <dgm:prSet/>
      <dgm:spPr/>
      <dgm:t>
        <a:bodyPr/>
        <a:lstStyle/>
        <a:p>
          <a:endParaRPr lang="nb-NO" sz="2000"/>
        </a:p>
      </dgm:t>
    </dgm:pt>
    <dgm:pt modelId="{93802CBA-BAE6-481D-AEDF-1164E849B9B4}" type="sibTrans" cxnId="{074BF0E6-BB76-4DD9-A1BD-97B465172288}">
      <dgm:prSet/>
      <dgm:spPr/>
      <dgm:t>
        <a:bodyPr/>
        <a:lstStyle/>
        <a:p>
          <a:endParaRPr lang="nb-NO" sz="2000"/>
        </a:p>
      </dgm:t>
    </dgm:pt>
    <dgm:pt modelId="{E96B7848-E327-401B-868A-3A14117FC92F}">
      <dgm:prSet phldrT="[Text]" custT="1"/>
      <dgm:spPr/>
      <dgm:t>
        <a:bodyPr/>
        <a:lstStyle/>
        <a:p>
          <a:r>
            <a:rPr lang="nb-NO" sz="800"/>
            <a:t>Forelesningsnotater</a:t>
          </a:r>
        </a:p>
      </dgm:t>
    </dgm:pt>
    <dgm:pt modelId="{BFF5D978-F517-4D3D-AFC6-61C9008B8435}" type="parTrans" cxnId="{90C4E4FC-6115-4770-A23A-91F8612EB609}">
      <dgm:prSet/>
      <dgm:spPr/>
      <dgm:t>
        <a:bodyPr/>
        <a:lstStyle/>
        <a:p>
          <a:endParaRPr lang="nb-NO" sz="2000"/>
        </a:p>
      </dgm:t>
    </dgm:pt>
    <dgm:pt modelId="{91B76285-E691-442D-A834-6D6BA75F99CA}" type="sibTrans" cxnId="{90C4E4FC-6115-4770-A23A-91F8612EB609}">
      <dgm:prSet/>
      <dgm:spPr/>
      <dgm:t>
        <a:bodyPr/>
        <a:lstStyle/>
        <a:p>
          <a:endParaRPr lang="nb-NO" sz="2000"/>
        </a:p>
      </dgm:t>
    </dgm:pt>
    <dgm:pt modelId="{18A582BD-4EF6-43BC-8A39-401AF13D1B58}">
      <dgm:prSet phldrT="[Text]" custT="1"/>
      <dgm:spPr/>
      <dgm:t>
        <a:bodyPr/>
        <a:lstStyle/>
        <a:p>
          <a:r>
            <a:rPr lang="nb-NO" sz="800" err="1"/>
            <a:t>powerpoints</a:t>
          </a:r>
          <a:endParaRPr lang="nb-NO" sz="800"/>
        </a:p>
      </dgm:t>
    </dgm:pt>
    <dgm:pt modelId="{1B70AC51-D962-43D2-8031-E508E1D3E7DF}" type="parTrans" cxnId="{2C9BE2B0-D4F7-4521-9B95-A939D44D74A4}">
      <dgm:prSet/>
      <dgm:spPr/>
      <dgm:t>
        <a:bodyPr/>
        <a:lstStyle/>
        <a:p>
          <a:endParaRPr lang="nb-NO" sz="2000"/>
        </a:p>
      </dgm:t>
    </dgm:pt>
    <dgm:pt modelId="{EFD7EFCA-EADF-49E2-A92D-4F98A960986E}" type="sibTrans" cxnId="{2C9BE2B0-D4F7-4521-9B95-A939D44D74A4}">
      <dgm:prSet/>
      <dgm:spPr/>
      <dgm:t>
        <a:bodyPr/>
        <a:lstStyle/>
        <a:p>
          <a:endParaRPr lang="nb-NO" sz="2000"/>
        </a:p>
      </dgm:t>
    </dgm:pt>
    <dgm:pt modelId="{D3DAFE8D-FF79-4E22-9A91-00D6DDAA13EC}">
      <dgm:prSet phldrT="[Text]" custT="1"/>
      <dgm:spPr/>
      <dgm:t>
        <a:bodyPr/>
        <a:lstStyle/>
        <a:p>
          <a:r>
            <a:rPr lang="nb-NO" sz="800"/>
            <a:t>Godkjenning</a:t>
          </a:r>
        </a:p>
      </dgm:t>
    </dgm:pt>
    <dgm:pt modelId="{95A32173-1BC0-4CB1-A10A-11F69E83F841}" type="parTrans" cxnId="{54176DAC-A29B-48F3-B77B-B02DF2F02144}">
      <dgm:prSet/>
      <dgm:spPr/>
      <dgm:t>
        <a:bodyPr/>
        <a:lstStyle/>
        <a:p>
          <a:endParaRPr lang="nb-NO" sz="2000"/>
        </a:p>
      </dgm:t>
    </dgm:pt>
    <dgm:pt modelId="{DF8EA141-EF4F-4317-8BDE-A5D618C9C738}" type="sibTrans" cxnId="{54176DAC-A29B-48F3-B77B-B02DF2F02144}">
      <dgm:prSet/>
      <dgm:spPr/>
      <dgm:t>
        <a:bodyPr/>
        <a:lstStyle/>
        <a:p>
          <a:endParaRPr lang="nb-NO" sz="2000"/>
        </a:p>
      </dgm:t>
    </dgm:pt>
    <dgm:pt modelId="{AC41EAAB-05D3-4452-A374-C43D02AE6B80}">
      <dgm:prSet phldrT="[Text]" custT="1"/>
      <dgm:spPr/>
      <dgm:t>
        <a:bodyPr/>
        <a:lstStyle/>
        <a:p>
          <a:r>
            <a:rPr lang="nb-NO" sz="800"/>
            <a:t>Tilrettelegging</a:t>
          </a:r>
        </a:p>
      </dgm:t>
    </dgm:pt>
    <dgm:pt modelId="{1847C69A-CBAE-49D0-B435-0DECB6187913}" type="parTrans" cxnId="{452FE020-3607-43FF-A1EC-3D7A37F2DF22}">
      <dgm:prSet/>
      <dgm:spPr/>
      <dgm:t>
        <a:bodyPr/>
        <a:lstStyle/>
        <a:p>
          <a:endParaRPr lang="nb-NO" sz="2000"/>
        </a:p>
      </dgm:t>
    </dgm:pt>
    <dgm:pt modelId="{30AEAA7A-4456-4350-8F7A-7DDCA9A7FEB3}" type="sibTrans" cxnId="{452FE020-3607-43FF-A1EC-3D7A37F2DF22}">
      <dgm:prSet/>
      <dgm:spPr/>
      <dgm:t>
        <a:bodyPr/>
        <a:lstStyle/>
        <a:p>
          <a:endParaRPr lang="nb-NO" sz="2000"/>
        </a:p>
      </dgm:t>
    </dgm:pt>
    <dgm:pt modelId="{057DBBE8-B0BA-44B8-8D33-3F5E250A83CA}">
      <dgm:prSet phldrT="[Text]" custT="1"/>
      <dgm:spPr/>
      <dgm:t>
        <a:bodyPr/>
        <a:lstStyle/>
        <a:p>
          <a:r>
            <a:rPr lang="nb-NO" sz="800"/>
            <a:t>…</a:t>
          </a:r>
        </a:p>
      </dgm:t>
    </dgm:pt>
    <dgm:pt modelId="{DB1B052B-3525-4AF1-A7A0-84472BCBAF65}" type="parTrans" cxnId="{13BAAE58-A9E2-4A54-B4B4-D63A912717D7}">
      <dgm:prSet/>
      <dgm:spPr/>
      <dgm:t>
        <a:bodyPr/>
        <a:lstStyle/>
        <a:p>
          <a:endParaRPr lang="nb-NO"/>
        </a:p>
      </dgm:t>
    </dgm:pt>
    <dgm:pt modelId="{7D8A162D-85F2-4A73-B377-236A82DBD480}" type="sibTrans" cxnId="{13BAAE58-A9E2-4A54-B4B4-D63A912717D7}">
      <dgm:prSet/>
      <dgm:spPr/>
      <dgm:t>
        <a:bodyPr/>
        <a:lstStyle/>
        <a:p>
          <a:endParaRPr lang="nb-NO"/>
        </a:p>
      </dgm:t>
    </dgm:pt>
    <dgm:pt modelId="{D5EBC860-B96A-43CA-80E3-E8A698ACCF53}">
      <dgm:prSet phldrT="[Text]" custT="1"/>
      <dgm:spPr/>
      <dgm:t>
        <a:bodyPr/>
        <a:lstStyle/>
        <a:p>
          <a:r>
            <a:rPr lang="nb-NO" sz="800"/>
            <a:t>Pensumlister</a:t>
          </a:r>
        </a:p>
      </dgm:t>
    </dgm:pt>
    <dgm:pt modelId="{30B5E1BE-6968-4E65-BBB7-1A917E1A38AA}" type="parTrans" cxnId="{CBB618D4-EEC1-45FA-9CED-4BBB55AEE7CE}">
      <dgm:prSet/>
      <dgm:spPr/>
      <dgm:t>
        <a:bodyPr/>
        <a:lstStyle/>
        <a:p>
          <a:endParaRPr lang="nb-NO"/>
        </a:p>
      </dgm:t>
    </dgm:pt>
    <dgm:pt modelId="{A70EEB6E-FAB8-4E6A-867D-53589C294E75}" type="sibTrans" cxnId="{CBB618D4-EEC1-45FA-9CED-4BBB55AEE7CE}">
      <dgm:prSet/>
      <dgm:spPr/>
      <dgm:t>
        <a:bodyPr/>
        <a:lstStyle/>
        <a:p>
          <a:endParaRPr lang="nb-NO"/>
        </a:p>
      </dgm:t>
    </dgm:pt>
    <dgm:pt modelId="{750675EB-55C4-4A69-91DE-1CE456185EFD}">
      <dgm:prSet phldrT="[Text]" custT="1"/>
      <dgm:spPr/>
      <dgm:t>
        <a:bodyPr/>
        <a:lstStyle/>
        <a:p>
          <a:r>
            <a:rPr lang="nb-NO" sz="800"/>
            <a:t>Finne regler/rutiner</a:t>
          </a:r>
        </a:p>
      </dgm:t>
    </dgm:pt>
    <dgm:pt modelId="{970DA2AE-8FA5-42D4-9EB7-D031BF00A712}" type="parTrans" cxnId="{1513B134-D05C-4AD6-A752-B435C1908FA8}">
      <dgm:prSet/>
      <dgm:spPr/>
      <dgm:t>
        <a:bodyPr/>
        <a:lstStyle/>
        <a:p>
          <a:endParaRPr lang="nb-NO"/>
        </a:p>
      </dgm:t>
    </dgm:pt>
    <dgm:pt modelId="{BDDD1DEC-2D71-4CDD-A226-E9281BCBD739}" type="sibTrans" cxnId="{1513B134-D05C-4AD6-A752-B435C1908FA8}">
      <dgm:prSet/>
      <dgm:spPr/>
      <dgm:t>
        <a:bodyPr/>
        <a:lstStyle/>
        <a:p>
          <a:endParaRPr lang="nb-NO"/>
        </a:p>
      </dgm:t>
    </dgm:pt>
    <dgm:pt modelId="{369D980E-34C5-4298-93D2-435275353054}" type="pres">
      <dgm:prSet presAssocID="{4ACA6E00-31E6-45EA-B6E9-40AF3F53A484}" presName="rootnode" presStyleCnt="0">
        <dgm:presLayoutVars>
          <dgm:chMax/>
          <dgm:chPref/>
          <dgm:dir/>
          <dgm:animLvl val="lvl"/>
        </dgm:presLayoutVars>
      </dgm:prSet>
      <dgm:spPr/>
    </dgm:pt>
    <dgm:pt modelId="{C5D78568-7D95-4813-B5C0-60D535F4D6DF}" type="pres">
      <dgm:prSet presAssocID="{648B9298-D6BF-4B75-8ED2-43AE5FB8DF3C}" presName="composite" presStyleCnt="0"/>
      <dgm:spPr/>
    </dgm:pt>
    <dgm:pt modelId="{1958383A-4D82-49B0-BF35-38E0D23C5237}" type="pres">
      <dgm:prSet presAssocID="{648B9298-D6BF-4B75-8ED2-43AE5FB8DF3C}" presName="LShape" presStyleLbl="alignNode1" presStyleIdx="0" presStyleCnt="13"/>
      <dgm:spPr/>
    </dgm:pt>
    <dgm:pt modelId="{67BC16F0-5A69-4FCA-BF50-4592309B1242}" type="pres">
      <dgm:prSet presAssocID="{648B9298-D6BF-4B75-8ED2-43AE5FB8DF3C}" presName="ParentText" presStyleLbl="revTx" presStyleIdx="0" presStyleCnt="7">
        <dgm:presLayoutVars>
          <dgm:chMax val="0"/>
          <dgm:chPref val="0"/>
          <dgm:bulletEnabled val="1"/>
        </dgm:presLayoutVars>
      </dgm:prSet>
      <dgm:spPr/>
    </dgm:pt>
    <dgm:pt modelId="{EC8EFFC2-6E6C-48BD-BB6A-054960676174}" type="pres">
      <dgm:prSet presAssocID="{648B9298-D6BF-4B75-8ED2-43AE5FB8DF3C}" presName="Triangle" presStyleLbl="alignNode1" presStyleIdx="1" presStyleCnt="13"/>
      <dgm:spPr/>
    </dgm:pt>
    <dgm:pt modelId="{0A0DDB71-0E41-4D5A-827F-311DCA5AF4B7}" type="pres">
      <dgm:prSet presAssocID="{9338C507-7FC8-4D3E-AD95-D5DC380868EA}" presName="sibTrans" presStyleCnt="0"/>
      <dgm:spPr/>
    </dgm:pt>
    <dgm:pt modelId="{332B94AB-5CBE-4E1D-8A3C-9844A0E1C410}" type="pres">
      <dgm:prSet presAssocID="{9338C507-7FC8-4D3E-AD95-D5DC380868EA}" presName="space" presStyleCnt="0"/>
      <dgm:spPr/>
    </dgm:pt>
    <dgm:pt modelId="{C9452749-035D-4939-8B67-E49B233C0869}" type="pres">
      <dgm:prSet presAssocID="{69BFD61B-0B34-40DB-9F94-ABE9523C67E3}" presName="composite" presStyleCnt="0"/>
      <dgm:spPr/>
    </dgm:pt>
    <dgm:pt modelId="{E2006F91-F2E6-443F-B981-EC25B4EC6430}" type="pres">
      <dgm:prSet presAssocID="{69BFD61B-0B34-40DB-9F94-ABE9523C67E3}" presName="LShape" presStyleLbl="alignNode1" presStyleIdx="2" presStyleCnt="13"/>
      <dgm:spPr/>
    </dgm:pt>
    <dgm:pt modelId="{1EFFE063-3E5E-4A66-94E1-2F7FC0384785}" type="pres">
      <dgm:prSet presAssocID="{69BFD61B-0B34-40DB-9F94-ABE9523C67E3}" presName="ParentText" presStyleLbl="revTx" presStyleIdx="1" presStyleCnt="7">
        <dgm:presLayoutVars>
          <dgm:chMax val="0"/>
          <dgm:chPref val="0"/>
          <dgm:bulletEnabled val="1"/>
        </dgm:presLayoutVars>
      </dgm:prSet>
      <dgm:spPr/>
    </dgm:pt>
    <dgm:pt modelId="{0989C4F2-8F5A-47B0-BE75-92345EE00B53}" type="pres">
      <dgm:prSet presAssocID="{69BFD61B-0B34-40DB-9F94-ABE9523C67E3}" presName="Triangle" presStyleLbl="alignNode1" presStyleIdx="3" presStyleCnt="13"/>
      <dgm:spPr/>
    </dgm:pt>
    <dgm:pt modelId="{D0DA215B-3279-4321-BE56-51F62467839D}" type="pres">
      <dgm:prSet presAssocID="{44D33DA9-3678-4B2E-9C35-52E35E18B822}" presName="sibTrans" presStyleCnt="0"/>
      <dgm:spPr/>
    </dgm:pt>
    <dgm:pt modelId="{BB3BD93C-B625-4365-A84E-7D378C286DE7}" type="pres">
      <dgm:prSet presAssocID="{44D33DA9-3678-4B2E-9C35-52E35E18B822}" presName="space" presStyleCnt="0"/>
      <dgm:spPr/>
    </dgm:pt>
    <dgm:pt modelId="{C37FBEEF-65FD-41F7-9DC5-89C7BDEB4991}" type="pres">
      <dgm:prSet presAssocID="{6D0DC85C-AEB2-4987-9873-59F025CFB026}" presName="composite" presStyleCnt="0"/>
      <dgm:spPr/>
    </dgm:pt>
    <dgm:pt modelId="{6816E276-C83B-4EA9-8854-5B6F1FA8C27E}" type="pres">
      <dgm:prSet presAssocID="{6D0DC85C-AEB2-4987-9873-59F025CFB026}" presName="LShape" presStyleLbl="alignNode1" presStyleIdx="4" presStyleCnt="13"/>
      <dgm:spPr/>
    </dgm:pt>
    <dgm:pt modelId="{73E61A4B-0A69-4187-A0C3-762ECB3A7661}" type="pres">
      <dgm:prSet presAssocID="{6D0DC85C-AEB2-4987-9873-59F025CFB026}" presName="ParentText" presStyleLbl="revTx" presStyleIdx="2" presStyleCnt="7">
        <dgm:presLayoutVars>
          <dgm:chMax val="0"/>
          <dgm:chPref val="0"/>
          <dgm:bulletEnabled val="1"/>
        </dgm:presLayoutVars>
      </dgm:prSet>
      <dgm:spPr/>
    </dgm:pt>
    <dgm:pt modelId="{CED905F7-ABD2-42B5-AEC7-1DE7F6ED02A1}" type="pres">
      <dgm:prSet presAssocID="{6D0DC85C-AEB2-4987-9873-59F025CFB026}" presName="Triangle" presStyleLbl="alignNode1" presStyleIdx="5" presStyleCnt="13"/>
      <dgm:spPr/>
    </dgm:pt>
    <dgm:pt modelId="{FED8446E-5DD4-4947-B1AD-33A9F146E4FC}" type="pres">
      <dgm:prSet presAssocID="{2FDBB84E-7516-4C31-8872-C61B919B7937}" presName="sibTrans" presStyleCnt="0"/>
      <dgm:spPr/>
    </dgm:pt>
    <dgm:pt modelId="{2C40179F-8796-4BC6-A9E1-826F7EABE863}" type="pres">
      <dgm:prSet presAssocID="{2FDBB84E-7516-4C31-8872-C61B919B7937}" presName="space" presStyleCnt="0"/>
      <dgm:spPr/>
    </dgm:pt>
    <dgm:pt modelId="{54033306-A83E-4030-AA9F-64FF6317A23A}" type="pres">
      <dgm:prSet presAssocID="{9DA12115-7C9E-4FBB-BB89-6CE2AA7927ED}" presName="composite" presStyleCnt="0"/>
      <dgm:spPr/>
    </dgm:pt>
    <dgm:pt modelId="{5126BBCA-532B-45FF-8D50-7C91FD7D966A}" type="pres">
      <dgm:prSet presAssocID="{9DA12115-7C9E-4FBB-BB89-6CE2AA7927ED}" presName="LShape" presStyleLbl="alignNode1" presStyleIdx="6" presStyleCnt="13"/>
      <dgm:spPr/>
    </dgm:pt>
    <dgm:pt modelId="{D3660A19-4E2A-44F8-B16A-2B1F9E1E9A5F}" type="pres">
      <dgm:prSet presAssocID="{9DA12115-7C9E-4FBB-BB89-6CE2AA7927ED}" presName="ParentText" presStyleLbl="revTx" presStyleIdx="3" presStyleCnt="7">
        <dgm:presLayoutVars>
          <dgm:chMax val="0"/>
          <dgm:chPref val="0"/>
          <dgm:bulletEnabled val="1"/>
        </dgm:presLayoutVars>
      </dgm:prSet>
      <dgm:spPr/>
    </dgm:pt>
    <dgm:pt modelId="{05BA58DF-2184-4789-B734-96C8C39E2E51}" type="pres">
      <dgm:prSet presAssocID="{9DA12115-7C9E-4FBB-BB89-6CE2AA7927ED}" presName="Triangle" presStyleLbl="alignNode1" presStyleIdx="7" presStyleCnt="13"/>
      <dgm:spPr/>
    </dgm:pt>
    <dgm:pt modelId="{3FB08D8C-97A5-4EA7-AF65-B00278C3560E}" type="pres">
      <dgm:prSet presAssocID="{EF5F5AFA-4E60-4F99-BA57-6CB53A590CF6}" presName="sibTrans" presStyleCnt="0"/>
      <dgm:spPr/>
    </dgm:pt>
    <dgm:pt modelId="{8BA0011F-1CB5-4495-B942-CF51DCF401C8}" type="pres">
      <dgm:prSet presAssocID="{EF5F5AFA-4E60-4F99-BA57-6CB53A590CF6}" presName="space" presStyleCnt="0"/>
      <dgm:spPr/>
    </dgm:pt>
    <dgm:pt modelId="{5C6D6C7C-279C-4E06-B3E3-AA1C99C9E44C}" type="pres">
      <dgm:prSet presAssocID="{2AD4374B-A1C4-4F6E-BF27-AEF1C53C5BD5}" presName="composite" presStyleCnt="0"/>
      <dgm:spPr/>
    </dgm:pt>
    <dgm:pt modelId="{DA7C7AC3-1838-47A6-B102-E78F4D2EB223}" type="pres">
      <dgm:prSet presAssocID="{2AD4374B-A1C4-4F6E-BF27-AEF1C53C5BD5}" presName="LShape" presStyleLbl="alignNode1" presStyleIdx="8" presStyleCnt="13"/>
      <dgm:spPr/>
    </dgm:pt>
    <dgm:pt modelId="{AF466CD9-2F35-43E6-B5EB-3E1FA748A1C0}" type="pres">
      <dgm:prSet presAssocID="{2AD4374B-A1C4-4F6E-BF27-AEF1C53C5BD5}" presName="ParentText" presStyleLbl="revTx" presStyleIdx="4" presStyleCnt="7" custScaleY="84204">
        <dgm:presLayoutVars>
          <dgm:chMax val="0"/>
          <dgm:chPref val="0"/>
          <dgm:bulletEnabled val="1"/>
        </dgm:presLayoutVars>
      </dgm:prSet>
      <dgm:spPr/>
    </dgm:pt>
    <dgm:pt modelId="{5370A695-882A-42E9-BB5E-0FA314517B55}" type="pres">
      <dgm:prSet presAssocID="{2AD4374B-A1C4-4F6E-BF27-AEF1C53C5BD5}" presName="Triangle" presStyleLbl="alignNode1" presStyleIdx="9" presStyleCnt="13"/>
      <dgm:spPr/>
    </dgm:pt>
    <dgm:pt modelId="{8A1542D0-4C64-4A7F-B8DC-4D900ACAC43D}" type="pres">
      <dgm:prSet presAssocID="{11C35859-1F3A-41CE-978C-339E4B9950EB}" presName="sibTrans" presStyleCnt="0"/>
      <dgm:spPr/>
    </dgm:pt>
    <dgm:pt modelId="{5BBA2FDA-A49F-45A4-823D-C9C6428C6C1C}" type="pres">
      <dgm:prSet presAssocID="{11C35859-1F3A-41CE-978C-339E4B9950EB}" presName="space" presStyleCnt="0"/>
      <dgm:spPr/>
    </dgm:pt>
    <dgm:pt modelId="{F4345F11-CEAE-4A45-BED4-B79E36D26159}" type="pres">
      <dgm:prSet presAssocID="{A4F44625-2E95-47AF-B955-157DE2F4986A}" presName="composite" presStyleCnt="0"/>
      <dgm:spPr/>
    </dgm:pt>
    <dgm:pt modelId="{00E51A33-580E-4F7B-A4DF-97D8FABFB94D}" type="pres">
      <dgm:prSet presAssocID="{A4F44625-2E95-47AF-B955-157DE2F4986A}" presName="LShape" presStyleLbl="alignNode1" presStyleIdx="10" presStyleCnt="13"/>
      <dgm:spPr/>
    </dgm:pt>
    <dgm:pt modelId="{78C9D29D-B9EB-46E7-ADF9-AB71AAC899BC}" type="pres">
      <dgm:prSet presAssocID="{A4F44625-2E95-47AF-B955-157DE2F4986A}" presName="ParentText" presStyleLbl="revTx" presStyleIdx="5" presStyleCnt="7">
        <dgm:presLayoutVars>
          <dgm:chMax val="0"/>
          <dgm:chPref val="0"/>
          <dgm:bulletEnabled val="1"/>
        </dgm:presLayoutVars>
      </dgm:prSet>
      <dgm:spPr/>
    </dgm:pt>
    <dgm:pt modelId="{D579981E-7620-4A16-8CD5-6D0341AA1A15}" type="pres">
      <dgm:prSet presAssocID="{A4F44625-2E95-47AF-B955-157DE2F4986A}" presName="Triangle" presStyleLbl="alignNode1" presStyleIdx="11" presStyleCnt="13"/>
      <dgm:spPr/>
    </dgm:pt>
    <dgm:pt modelId="{17F7A295-1BAF-4D7B-8B96-C260F42145A8}" type="pres">
      <dgm:prSet presAssocID="{FA3FC1EF-F696-4522-BF2B-3B6CF0FC0728}" presName="sibTrans" presStyleCnt="0"/>
      <dgm:spPr/>
    </dgm:pt>
    <dgm:pt modelId="{B195C400-625B-4087-8109-7FF086C43358}" type="pres">
      <dgm:prSet presAssocID="{FA3FC1EF-F696-4522-BF2B-3B6CF0FC0728}" presName="space" presStyleCnt="0"/>
      <dgm:spPr/>
    </dgm:pt>
    <dgm:pt modelId="{FF2F83E5-79C2-431B-83CF-8D8DACAECDE7}" type="pres">
      <dgm:prSet presAssocID="{A551A55C-2A9D-4A67-B8CD-85821AF6778C}" presName="composite" presStyleCnt="0"/>
      <dgm:spPr/>
    </dgm:pt>
    <dgm:pt modelId="{40C52FC6-672C-4A89-87F5-D8F999ADC033}" type="pres">
      <dgm:prSet presAssocID="{A551A55C-2A9D-4A67-B8CD-85821AF6778C}" presName="LShape" presStyleLbl="alignNode1" presStyleIdx="12" presStyleCnt="13"/>
      <dgm:spPr/>
    </dgm:pt>
    <dgm:pt modelId="{89EB5499-ADD1-49F3-805A-9A33C5C1C258}" type="pres">
      <dgm:prSet presAssocID="{A551A55C-2A9D-4A67-B8CD-85821AF6778C}" presName="ParentText" presStyleLbl="revTx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D5B14900-BC2C-48F3-81B8-4F496AF335FF}" type="presOf" srcId="{48A13873-8103-4951-BF00-33B68C96ACD0}" destId="{AF466CD9-2F35-43E6-B5EB-3E1FA748A1C0}" srcOrd="0" destOrd="2" presId="urn:microsoft.com/office/officeart/2009/3/layout/StepUpProcess"/>
    <dgm:cxn modelId="{F004C100-5B91-4F73-B500-25ABE7EE85BF}" srcId="{4ACA6E00-31E6-45EA-B6E9-40AF3F53A484}" destId="{69BFD61B-0B34-40DB-9F94-ABE9523C67E3}" srcOrd="1" destOrd="0" parTransId="{12C854AB-BBC5-449B-A13F-84BEA7CF9E15}" sibTransId="{44D33DA9-3678-4B2E-9C35-52E35E18B822}"/>
    <dgm:cxn modelId="{4FC72501-D61C-48F8-8019-5B05F79B729C}" type="presOf" srcId="{46A09C56-69D5-42BA-A142-A064B5A1E219}" destId="{73E61A4B-0A69-4187-A0C3-762ECB3A7661}" srcOrd="0" destOrd="4" presId="urn:microsoft.com/office/officeart/2009/3/layout/StepUpProcess"/>
    <dgm:cxn modelId="{45337315-EBB7-4303-B3FF-2236E6E8A68C}" type="presOf" srcId="{E96B7848-E327-401B-868A-3A14117FC92F}" destId="{D3660A19-4E2A-44F8-B16A-2B1F9E1E9A5F}" srcOrd="0" destOrd="2" presId="urn:microsoft.com/office/officeart/2009/3/layout/StepUpProcess"/>
    <dgm:cxn modelId="{9ACFE016-3BB2-426B-ACC9-22718B354C44}" type="presOf" srcId="{057DBBE8-B0BA-44B8-8D33-3F5E250A83CA}" destId="{1EFFE063-3E5E-4A66-94E1-2F7FC0384785}" srcOrd="0" destOrd="6" presId="urn:microsoft.com/office/officeart/2009/3/layout/StepUpProcess"/>
    <dgm:cxn modelId="{2677C918-25BE-489D-815B-79643E285FEE}" srcId="{6D0DC85C-AEB2-4987-9873-59F025CFB026}" destId="{46A09C56-69D5-42BA-A142-A064B5A1E219}" srcOrd="3" destOrd="0" parTransId="{65400728-0F4D-4B5E-B0F2-B8883107249E}" sibTransId="{0057163E-C41E-49A1-803D-D21C83B7ABF2}"/>
    <dgm:cxn modelId="{02669E19-5277-45FE-AC0A-335E0158917D}" type="presOf" srcId="{C5555EF9-9BED-41D9-9638-9F506CA8B6FC}" destId="{67BC16F0-5A69-4FCA-BF50-4592309B1242}" srcOrd="0" destOrd="2" presId="urn:microsoft.com/office/officeart/2009/3/layout/StepUpProcess"/>
    <dgm:cxn modelId="{77E4231E-34BF-40F4-9ED8-0F80C8AD4BFF}" type="presOf" srcId="{E27AD9CD-E918-4096-9725-28FDB5C18080}" destId="{67BC16F0-5A69-4FCA-BF50-4592309B1242}" srcOrd="0" destOrd="1" presId="urn:microsoft.com/office/officeart/2009/3/layout/StepUpProcess"/>
    <dgm:cxn modelId="{452FE020-3607-43FF-A1EC-3D7A37F2DF22}" srcId="{69BFD61B-0B34-40DB-9F94-ABE9523C67E3}" destId="{AC41EAAB-05D3-4452-A374-C43D02AE6B80}" srcOrd="4" destOrd="0" parTransId="{1847C69A-CBAE-49D0-B435-0DECB6187913}" sibTransId="{30AEAA7A-4456-4350-8F7A-7DDCA9A7FEB3}"/>
    <dgm:cxn modelId="{D9970E24-8492-461E-BD41-B1C711720311}" type="presOf" srcId="{4ACA6E00-31E6-45EA-B6E9-40AF3F53A484}" destId="{369D980E-34C5-4298-93D2-435275353054}" srcOrd="0" destOrd="0" presId="urn:microsoft.com/office/officeart/2009/3/layout/StepUpProcess"/>
    <dgm:cxn modelId="{7EBFCD2B-65F1-4FE7-AFF5-D5D24252718E}" srcId="{4ACA6E00-31E6-45EA-B6E9-40AF3F53A484}" destId="{A4F44625-2E95-47AF-B955-157DE2F4986A}" srcOrd="5" destOrd="0" parTransId="{F34F314D-7A9B-421C-9303-0EDA25B90D04}" sibTransId="{FA3FC1EF-F696-4522-BF2B-3B6CF0FC0728}"/>
    <dgm:cxn modelId="{C7CB4932-7961-44CD-A38E-8A29A0438931}" type="presOf" srcId="{17A3E598-3AF2-4185-AF81-C3D19C1F4A98}" destId="{AF466CD9-2F35-43E6-B5EB-3E1FA748A1C0}" srcOrd="0" destOrd="3" presId="urn:microsoft.com/office/officeart/2009/3/layout/StepUpProcess"/>
    <dgm:cxn modelId="{1513B134-D05C-4AD6-A752-B435C1908FA8}" srcId="{69BFD61B-0B34-40DB-9F94-ABE9523C67E3}" destId="{750675EB-55C4-4A69-91DE-1CE456185EFD}" srcOrd="1" destOrd="0" parTransId="{970DA2AE-8FA5-42D4-9EB7-D031BF00A712}" sibTransId="{BDDD1DEC-2D71-4CDD-A226-E9281BCBD739}"/>
    <dgm:cxn modelId="{84ADA337-8181-4DA0-9A24-B63BEEA8CD80}" type="presOf" srcId="{2AD4374B-A1C4-4F6E-BF27-AEF1C53C5BD5}" destId="{AF466CD9-2F35-43E6-B5EB-3E1FA748A1C0}" srcOrd="0" destOrd="0" presId="urn:microsoft.com/office/officeart/2009/3/layout/StepUpProcess"/>
    <dgm:cxn modelId="{620A903D-0FE4-42D6-8491-D663843096B7}" type="presOf" srcId="{18A582BD-4EF6-43BC-8A39-401AF13D1B58}" destId="{D3660A19-4E2A-44F8-B16A-2B1F9E1E9A5F}" srcOrd="0" destOrd="3" presId="urn:microsoft.com/office/officeart/2009/3/layout/StepUpProcess"/>
    <dgm:cxn modelId="{3B91B060-FFC0-4F59-846A-A4A6301BE211}" type="presOf" srcId="{C5578AA9-EEFB-44C1-8914-C70771D992DC}" destId="{73E61A4B-0A69-4187-A0C3-762ECB3A7661}" srcOrd="0" destOrd="2" presId="urn:microsoft.com/office/officeart/2009/3/layout/StepUpProcess"/>
    <dgm:cxn modelId="{54509361-0294-406D-8184-8ACCC8F463D4}" type="presOf" srcId="{4C6A1519-A50B-4DF9-86CE-317A5693B3B6}" destId="{89EB5499-ADD1-49F3-805A-9A33C5C1C258}" srcOrd="0" destOrd="3" presId="urn:microsoft.com/office/officeart/2009/3/layout/StepUpProcess"/>
    <dgm:cxn modelId="{9F453162-1AD8-4EA3-A385-D62714BD37AF}" srcId="{A551A55C-2A9D-4A67-B8CD-85821AF6778C}" destId="{3A2878EF-317A-4A4C-B992-0BDEBBF76D4B}" srcOrd="1" destOrd="0" parTransId="{C9145B49-FD76-4115-A4D1-B8C39FC0E905}" sibTransId="{DB05FCF2-6E5F-4728-BD65-C9A06DDF2E55}"/>
    <dgm:cxn modelId="{0728A242-01E7-46A3-BF13-2163729BAAC6}" srcId="{648B9298-D6BF-4B75-8ED2-43AE5FB8DF3C}" destId="{E27AD9CD-E918-4096-9725-28FDB5C18080}" srcOrd="0" destOrd="0" parTransId="{6C2A0D0D-AE04-46DC-9A46-076F8B231622}" sibTransId="{E2896BC1-F53F-4641-BA07-397A7EBE457F}"/>
    <dgm:cxn modelId="{B3BAC842-CFAB-4641-B5B6-F796788CB250}" type="presOf" srcId="{1F1F4C4B-DCD3-4D83-A24E-D83E8D292CFD}" destId="{AF466CD9-2F35-43E6-B5EB-3E1FA748A1C0}" srcOrd="0" destOrd="1" presId="urn:microsoft.com/office/officeart/2009/3/layout/StepUpProcess"/>
    <dgm:cxn modelId="{F5D0E266-334D-4C69-A9E6-E87FA33A13ED}" srcId="{69BFD61B-0B34-40DB-9F94-ABE9523C67E3}" destId="{E1757A10-9EF5-4281-B27A-179FB9179F3C}" srcOrd="2" destOrd="0" parTransId="{9118E278-DACF-4DB9-970D-5F306C3D3FA6}" sibTransId="{5DF1171E-14B4-48C0-BB17-76E228A04808}"/>
    <dgm:cxn modelId="{63B99148-939D-4CFC-83D0-065C0601D7B3}" srcId="{648B9298-D6BF-4B75-8ED2-43AE5FB8DF3C}" destId="{C5555EF9-9BED-41D9-9638-9F506CA8B6FC}" srcOrd="1" destOrd="0" parTransId="{30CB0598-3661-4BCF-99A8-4C5E0764AD84}" sibTransId="{04595E9C-D77F-4490-8E7A-7F8CACA833E7}"/>
    <dgm:cxn modelId="{94B9D44A-4CD9-4C67-B180-DABF8E49E416}" srcId="{A4F44625-2E95-47AF-B955-157DE2F4986A}" destId="{FD57C624-8E0D-4D14-8523-34648EB51DC2}" srcOrd="0" destOrd="0" parTransId="{6D49B702-4D61-4BD8-B450-562317769B40}" sibTransId="{72645802-9CBD-4613-82DC-F83366C826DF}"/>
    <dgm:cxn modelId="{D02D074D-E8A4-4830-B955-13178EABDCD2}" type="presOf" srcId="{FD57C624-8E0D-4D14-8523-34648EB51DC2}" destId="{78C9D29D-B9EB-46E7-ADF9-AB71AAC899BC}" srcOrd="0" destOrd="1" presId="urn:microsoft.com/office/officeart/2009/3/layout/StepUpProcess"/>
    <dgm:cxn modelId="{E62B9B73-6333-4FFA-8E88-1613983A9B5F}" type="presOf" srcId="{D3DAFE8D-FF79-4E22-9A91-00D6DDAA13EC}" destId="{1EFFE063-3E5E-4A66-94E1-2F7FC0384785}" srcOrd="0" destOrd="4" presId="urn:microsoft.com/office/officeart/2009/3/layout/StepUpProcess"/>
    <dgm:cxn modelId="{84B7CB55-EF15-4A27-889B-C232BA34F1AD}" srcId="{4ACA6E00-31E6-45EA-B6E9-40AF3F53A484}" destId="{6D0DC85C-AEB2-4987-9873-59F025CFB026}" srcOrd="2" destOrd="0" parTransId="{7D8B46FE-8870-47C5-A133-492ECA3EE353}" sibTransId="{2FDBB84E-7516-4C31-8872-C61B919B7937}"/>
    <dgm:cxn modelId="{E2F88E56-E1BF-475C-9809-E3E13A94F152}" srcId="{4ACA6E00-31E6-45EA-B6E9-40AF3F53A484}" destId="{648B9298-D6BF-4B75-8ED2-43AE5FB8DF3C}" srcOrd="0" destOrd="0" parTransId="{E2B2C2B0-DBC2-47FB-B782-433DC33B0C72}" sibTransId="{9338C507-7FC8-4D3E-AD95-D5DC380868EA}"/>
    <dgm:cxn modelId="{9EADF157-CFAB-49B2-8A51-3817C43B2FBD}" srcId="{2AD4374B-A1C4-4F6E-BF27-AEF1C53C5BD5}" destId="{48A13873-8103-4951-BF00-33B68C96ACD0}" srcOrd="1" destOrd="0" parTransId="{CA842DE2-6DCE-4A91-9935-678590603B95}" sibTransId="{DF869449-B516-4517-929B-5E8546CF130E}"/>
    <dgm:cxn modelId="{13BAAE58-A9E2-4A54-B4B4-D63A912717D7}" srcId="{69BFD61B-0B34-40DB-9F94-ABE9523C67E3}" destId="{057DBBE8-B0BA-44B8-8D33-3F5E250A83CA}" srcOrd="5" destOrd="0" parTransId="{DB1B052B-3525-4AF1-A7A0-84472BCBAF65}" sibTransId="{7D8A162D-85F2-4A73-B377-236A82DBD480}"/>
    <dgm:cxn modelId="{BFE9B87D-197B-4F88-9D39-4664A5785E60}" srcId="{6D0DC85C-AEB2-4987-9873-59F025CFB026}" destId="{FE1DFE62-6502-451A-AFB6-91922BE3394D}" srcOrd="0" destOrd="0" parTransId="{0D9BC054-B977-487E-AD7F-DC97AB76879A}" sibTransId="{1CCA4B49-8470-46A3-A07B-9D82C31C4631}"/>
    <dgm:cxn modelId="{60463480-D911-448B-AD0D-C54F39D85E03}" type="presOf" srcId="{E1757A10-9EF5-4281-B27A-179FB9179F3C}" destId="{1EFFE063-3E5E-4A66-94E1-2F7FC0384785}" srcOrd="0" destOrd="3" presId="urn:microsoft.com/office/officeart/2009/3/layout/StepUpProcess"/>
    <dgm:cxn modelId="{86D42581-2D86-4D3C-94A8-DB3E98D882A7}" type="presOf" srcId="{750675EB-55C4-4A69-91DE-1CE456185EFD}" destId="{1EFFE063-3E5E-4A66-94E1-2F7FC0384785}" srcOrd="0" destOrd="2" presId="urn:microsoft.com/office/officeart/2009/3/layout/StepUpProcess"/>
    <dgm:cxn modelId="{C0A26282-CF2E-450B-BD50-9CB206C77120}" type="presOf" srcId="{A551A55C-2A9D-4A67-B8CD-85821AF6778C}" destId="{89EB5499-ADD1-49F3-805A-9A33C5C1C258}" srcOrd="0" destOrd="0" presId="urn:microsoft.com/office/officeart/2009/3/layout/StepUpProcess"/>
    <dgm:cxn modelId="{5A1B3383-61B1-4620-AF13-63630CDCD776}" srcId="{4ACA6E00-31E6-45EA-B6E9-40AF3F53A484}" destId="{2AD4374B-A1C4-4F6E-BF27-AEF1C53C5BD5}" srcOrd="4" destOrd="0" parTransId="{9E2CEF27-B12B-4FAD-85E9-289088E258BC}" sibTransId="{11C35859-1F3A-41CE-978C-339E4B9950EB}"/>
    <dgm:cxn modelId="{DF9B2994-B035-4A41-8CB4-E03BBD1EE7DE}" type="presOf" srcId="{FE1DFE62-6502-451A-AFB6-91922BE3394D}" destId="{73E61A4B-0A69-4187-A0C3-762ECB3A7661}" srcOrd="0" destOrd="1" presId="urn:microsoft.com/office/officeart/2009/3/layout/StepUpProcess"/>
    <dgm:cxn modelId="{75BC6795-8B61-4A9A-87A3-F1FE33AE32CE}" srcId="{2AD4374B-A1C4-4F6E-BF27-AEF1C53C5BD5}" destId="{1F1F4C4B-DCD3-4D83-A24E-D83E8D292CFD}" srcOrd="0" destOrd="0" parTransId="{0FCD4B27-6A05-4D89-AF74-28AFF5F08D57}" sibTransId="{963B5821-66AC-40B6-88EE-5469E1E22101}"/>
    <dgm:cxn modelId="{3D024499-71E3-4C75-A01B-46BD463F281C}" srcId="{4ACA6E00-31E6-45EA-B6E9-40AF3F53A484}" destId="{9DA12115-7C9E-4FBB-BB89-6CE2AA7927ED}" srcOrd="3" destOrd="0" parTransId="{579B8397-4B44-4AF0-AF81-DF5D0E929B35}" sibTransId="{EF5F5AFA-4E60-4F99-BA57-6CB53A590CF6}"/>
    <dgm:cxn modelId="{A69A7C9C-9FAA-4320-9E94-04F90B54A174}" srcId="{A551A55C-2A9D-4A67-B8CD-85821AF6778C}" destId="{4787A268-48B9-40EC-948D-3E3BB09B26A1}" srcOrd="0" destOrd="0" parTransId="{A7D240D9-822F-400B-9D93-F3CE9E152425}" sibTransId="{C69FB417-2CFB-40A1-B81D-39F40BC72035}"/>
    <dgm:cxn modelId="{AF91F7A0-DD8C-4571-80EF-AFC3621A87D2}" type="presOf" srcId="{AC41EAAB-05D3-4452-A374-C43D02AE6B80}" destId="{1EFFE063-3E5E-4A66-94E1-2F7FC0384785}" srcOrd="0" destOrd="5" presId="urn:microsoft.com/office/officeart/2009/3/layout/StepUpProcess"/>
    <dgm:cxn modelId="{F200FCA2-5095-41BF-B45B-9ECF9A6E6243}" srcId="{A4F44625-2E95-47AF-B955-157DE2F4986A}" destId="{CED84A24-7646-4428-99BA-37FBA9F00C27}" srcOrd="1" destOrd="0" parTransId="{2F45E57E-94D8-48B1-9E9A-DDFB06D5C31B}" sibTransId="{FD8740B4-EAAF-4DD3-8EEC-6C6ECFC97B4E}"/>
    <dgm:cxn modelId="{D1B50FA4-970A-44D5-8792-B912D7B86D27}" type="presOf" srcId="{4787A268-48B9-40EC-948D-3E3BB09B26A1}" destId="{89EB5499-ADD1-49F3-805A-9A33C5C1C258}" srcOrd="0" destOrd="1" presId="urn:microsoft.com/office/officeart/2009/3/layout/StepUpProcess"/>
    <dgm:cxn modelId="{087551A9-37D8-46C6-9689-107AE16ACF9B}" type="presOf" srcId="{47630ADC-42C7-417A-9518-430E59300D35}" destId="{1EFFE063-3E5E-4A66-94E1-2F7FC0384785}" srcOrd="0" destOrd="1" presId="urn:microsoft.com/office/officeart/2009/3/layout/StepUpProcess"/>
    <dgm:cxn modelId="{54176DAC-A29B-48F3-B77B-B02DF2F02144}" srcId="{69BFD61B-0B34-40DB-9F94-ABE9523C67E3}" destId="{D3DAFE8D-FF79-4E22-9A91-00D6DDAA13EC}" srcOrd="3" destOrd="0" parTransId="{95A32173-1BC0-4CB1-A10A-11F69E83F841}" sibTransId="{DF8EA141-EF4F-4317-8BDE-A5D618C9C738}"/>
    <dgm:cxn modelId="{2C9BE2B0-D4F7-4521-9B95-A939D44D74A4}" srcId="{9DA12115-7C9E-4FBB-BB89-6CE2AA7927ED}" destId="{18A582BD-4EF6-43BC-8A39-401AF13D1B58}" srcOrd="2" destOrd="0" parTransId="{1B70AC51-D962-43D2-8031-E508E1D3E7DF}" sibTransId="{EFD7EFCA-EADF-49E2-A92D-4F98A960986E}"/>
    <dgm:cxn modelId="{2F2E7CB3-3113-4EF3-BFDD-B72453AD2C21}" type="presOf" srcId="{9DA12115-7C9E-4FBB-BB89-6CE2AA7927ED}" destId="{D3660A19-4E2A-44F8-B16A-2B1F9E1E9A5F}" srcOrd="0" destOrd="0" presId="urn:microsoft.com/office/officeart/2009/3/layout/StepUpProcess"/>
    <dgm:cxn modelId="{4BF45FB8-CF5B-42DF-9DE2-BC5272765957}" srcId="{A551A55C-2A9D-4A67-B8CD-85821AF6778C}" destId="{4C6A1519-A50B-4DF9-86CE-317A5693B3B6}" srcOrd="2" destOrd="0" parTransId="{2D366B23-DACE-4B33-B28D-D3E94269D51D}" sibTransId="{0CE39C57-94DD-41EB-8F1C-EC2793FA6CDF}"/>
    <dgm:cxn modelId="{A0C0FAB8-FC6C-46DA-B481-A9A9BC531DB8}" srcId="{2AD4374B-A1C4-4F6E-BF27-AEF1C53C5BD5}" destId="{17A3E598-3AF2-4185-AF81-C3D19C1F4A98}" srcOrd="2" destOrd="0" parTransId="{64E2453B-3DF5-4981-992D-1EED975B38FD}" sibTransId="{B0728A7D-A1F8-48A1-8106-4C86BE2372A0}"/>
    <dgm:cxn modelId="{14DC29B9-176B-4B6C-BAF5-1D4590D1CDE3}" type="presOf" srcId="{FBF4A721-CBA2-4C01-AE1E-5C8BAB6CEF8F}" destId="{D3660A19-4E2A-44F8-B16A-2B1F9E1E9A5F}" srcOrd="0" destOrd="1" presId="urn:microsoft.com/office/officeart/2009/3/layout/StepUpProcess"/>
    <dgm:cxn modelId="{493790BD-3750-42C3-88F0-CB2E2FD52103}" type="presOf" srcId="{A4F44625-2E95-47AF-B955-157DE2F4986A}" destId="{78C9D29D-B9EB-46E7-ADF9-AB71AAC899BC}" srcOrd="0" destOrd="0" presId="urn:microsoft.com/office/officeart/2009/3/layout/StepUpProcess"/>
    <dgm:cxn modelId="{4508BCCE-19C0-48FB-91E5-B20315F83F62}" type="presOf" srcId="{D5EBC860-B96A-43CA-80E3-E8A698ACCF53}" destId="{73E61A4B-0A69-4187-A0C3-762ECB3A7661}" srcOrd="0" destOrd="3" presId="urn:microsoft.com/office/officeart/2009/3/layout/StepUpProcess"/>
    <dgm:cxn modelId="{C9DC85CF-5758-489E-8F8B-623E2EAD02F5}" type="presOf" srcId="{3A2878EF-317A-4A4C-B992-0BDEBBF76D4B}" destId="{89EB5499-ADD1-49F3-805A-9A33C5C1C258}" srcOrd="0" destOrd="2" presId="urn:microsoft.com/office/officeart/2009/3/layout/StepUpProcess"/>
    <dgm:cxn modelId="{CBB618D4-EEC1-45FA-9CED-4BBB55AEE7CE}" srcId="{6D0DC85C-AEB2-4987-9873-59F025CFB026}" destId="{D5EBC860-B96A-43CA-80E3-E8A698ACCF53}" srcOrd="2" destOrd="0" parTransId="{30B5E1BE-6968-4E65-BBB7-1A917E1A38AA}" sibTransId="{A70EEB6E-FAB8-4E6A-867D-53589C294E75}"/>
    <dgm:cxn modelId="{96B3CFDA-EB28-4334-8113-6697DF9DF839}" type="presOf" srcId="{648B9298-D6BF-4B75-8ED2-43AE5FB8DF3C}" destId="{67BC16F0-5A69-4FCA-BF50-4592309B1242}" srcOrd="0" destOrd="0" presId="urn:microsoft.com/office/officeart/2009/3/layout/StepUpProcess"/>
    <dgm:cxn modelId="{5D3F05E1-EADB-4BCE-9C70-993DF4427F27}" srcId="{69BFD61B-0B34-40DB-9F94-ABE9523C67E3}" destId="{47630ADC-42C7-417A-9518-430E59300D35}" srcOrd="0" destOrd="0" parTransId="{8790FC66-A9B5-48E3-A584-F3F7ABC86FF6}" sibTransId="{625CF763-32F2-431E-A686-AD1680A2C4DC}"/>
    <dgm:cxn modelId="{0DA995E4-07E4-4B63-A6BD-C8747CBBE84F}" srcId="{6D0DC85C-AEB2-4987-9873-59F025CFB026}" destId="{C5578AA9-EEFB-44C1-8914-C70771D992DC}" srcOrd="1" destOrd="0" parTransId="{E2196FCB-6871-436E-BB1F-626702E8A51D}" sibTransId="{ADB5E01C-93E5-43D6-B089-76B9A3CEAB16}"/>
    <dgm:cxn modelId="{074BF0E6-BB76-4DD9-A1BD-97B465172288}" srcId="{9DA12115-7C9E-4FBB-BB89-6CE2AA7927ED}" destId="{FBF4A721-CBA2-4C01-AE1E-5C8BAB6CEF8F}" srcOrd="0" destOrd="0" parTransId="{518DC566-F446-4DA1-8D55-2898585AC29B}" sibTransId="{93802CBA-BAE6-481D-AEDF-1164E849B9B4}"/>
    <dgm:cxn modelId="{1ACAC3E9-836C-4065-8C50-F206E74554F7}" srcId="{4ACA6E00-31E6-45EA-B6E9-40AF3F53A484}" destId="{A551A55C-2A9D-4A67-B8CD-85821AF6778C}" srcOrd="6" destOrd="0" parTransId="{656FC16C-8862-4DC3-9818-161BCBF690D1}" sibTransId="{EE7F381D-9ADE-4B1F-A984-29EC71E34DE0}"/>
    <dgm:cxn modelId="{D29637F3-7923-4418-84B1-98EFD18D2153}" type="presOf" srcId="{6D0DC85C-AEB2-4987-9873-59F025CFB026}" destId="{73E61A4B-0A69-4187-A0C3-762ECB3A7661}" srcOrd="0" destOrd="0" presId="urn:microsoft.com/office/officeart/2009/3/layout/StepUpProcess"/>
    <dgm:cxn modelId="{A0265EF5-E141-4C4B-8299-51979F4AF3B9}" type="presOf" srcId="{CED84A24-7646-4428-99BA-37FBA9F00C27}" destId="{78C9D29D-B9EB-46E7-ADF9-AB71AAC899BC}" srcOrd="0" destOrd="2" presId="urn:microsoft.com/office/officeart/2009/3/layout/StepUpProcess"/>
    <dgm:cxn modelId="{8614AFF7-0761-4482-BB87-51943E511976}" type="presOf" srcId="{69BFD61B-0B34-40DB-9F94-ABE9523C67E3}" destId="{1EFFE063-3E5E-4A66-94E1-2F7FC0384785}" srcOrd="0" destOrd="0" presId="urn:microsoft.com/office/officeart/2009/3/layout/StepUpProcess"/>
    <dgm:cxn modelId="{90C4E4FC-6115-4770-A23A-91F8612EB609}" srcId="{9DA12115-7C9E-4FBB-BB89-6CE2AA7927ED}" destId="{E96B7848-E327-401B-868A-3A14117FC92F}" srcOrd="1" destOrd="0" parTransId="{BFF5D978-F517-4D3D-AFC6-61C9008B8435}" sibTransId="{91B76285-E691-442D-A834-6D6BA75F99CA}"/>
    <dgm:cxn modelId="{84D3F089-AFB0-4DD3-8518-24AA7A25CA35}" type="presParOf" srcId="{369D980E-34C5-4298-93D2-435275353054}" destId="{C5D78568-7D95-4813-B5C0-60D535F4D6DF}" srcOrd="0" destOrd="0" presId="urn:microsoft.com/office/officeart/2009/3/layout/StepUpProcess"/>
    <dgm:cxn modelId="{70CE50E2-976F-411D-84C4-90DE7FC6C441}" type="presParOf" srcId="{C5D78568-7D95-4813-B5C0-60D535F4D6DF}" destId="{1958383A-4D82-49B0-BF35-38E0D23C5237}" srcOrd="0" destOrd="0" presId="urn:microsoft.com/office/officeart/2009/3/layout/StepUpProcess"/>
    <dgm:cxn modelId="{3087D065-B600-432F-891B-C7873532CA43}" type="presParOf" srcId="{C5D78568-7D95-4813-B5C0-60D535F4D6DF}" destId="{67BC16F0-5A69-4FCA-BF50-4592309B1242}" srcOrd="1" destOrd="0" presId="urn:microsoft.com/office/officeart/2009/3/layout/StepUpProcess"/>
    <dgm:cxn modelId="{5ED901A5-192E-46ED-A155-8236178EAF7D}" type="presParOf" srcId="{C5D78568-7D95-4813-B5C0-60D535F4D6DF}" destId="{EC8EFFC2-6E6C-48BD-BB6A-054960676174}" srcOrd="2" destOrd="0" presId="urn:microsoft.com/office/officeart/2009/3/layout/StepUpProcess"/>
    <dgm:cxn modelId="{498E9FAF-A453-4B86-88DC-9E49A56D6C0E}" type="presParOf" srcId="{369D980E-34C5-4298-93D2-435275353054}" destId="{0A0DDB71-0E41-4D5A-827F-311DCA5AF4B7}" srcOrd="1" destOrd="0" presId="urn:microsoft.com/office/officeart/2009/3/layout/StepUpProcess"/>
    <dgm:cxn modelId="{8CB51837-368E-4F51-9E6A-765B008AF60A}" type="presParOf" srcId="{0A0DDB71-0E41-4D5A-827F-311DCA5AF4B7}" destId="{332B94AB-5CBE-4E1D-8A3C-9844A0E1C410}" srcOrd="0" destOrd="0" presId="urn:microsoft.com/office/officeart/2009/3/layout/StepUpProcess"/>
    <dgm:cxn modelId="{B29136DF-A695-4124-9D4F-189FD6BAF1A1}" type="presParOf" srcId="{369D980E-34C5-4298-93D2-435275353054}" destId="{C9452749-035D-4939-8B67-E49B233C0869}" srcOrd="2" destOrd="0" presId="urn:microsoft.com/office/officeart/2009/3/layout/StepUpProcess"/>
    <dgm:cxn modelId="{44458EB8-1DE1-47C4-9AF6-750746FA2237}" type="presParOf" srcId="{C9452749-035D-4939-8B67-E49B233C0869}" destId="{E2006F91-F2E6-443F-B981-EC25B4EC6430}" srcOrd="0" destOrd="0" presId="urn:microsoft.com/office/officeart/2009/3/layout/StepUpProcess"/>
    <dgm:cxn modelId="{73748F69-68DA-4B4B-BFB1-D0AD72668E57}" type="presParOf" srcId="{C9452749-035D-4939-8B67-E49B233C0869}" destId="{1EFFE063-3E5E-4A66-94E1-2F7FC0384785}" srcOrd="1" destOrd="0" presId="urn:microsoft.com/office/officeart/2009/3/layout/StepUpProcess"/>
    <dgm:cxn modelId="{25BC5BC0-24A4-49AE-BBA8-62AAFC063083}" type="presParOf" srcId="{C9452749-035D-4939-8B67-E49B233C0869}" destId="{0989C4F2-8F5A-47B0-BE75-92345EE00B53}" srcOrd="2" destOrd="0" presId="urn:microsoft.com/office/officeart/2009/3/layout/StepUpProcess"/>
    <dgm:cxn modelId="{7F3897ED-FD4F-4F64-B86F-5054F87C7C9C}" type="presParOf" srcId="{369D980E-34C5-4298-93D2-435275353054}" destId="{D0DA215B-3279-4321-BE56-51F62467839D}" srcOrd="3" destOrd="0" presId="urn:microsoft.com/office/officeart/2009/3/layout/StepUpProcess"/>
    <dgm:cxn modelId="{BB42A296-86EC-480B-A4E4-8CC2F7FABFDD}" type="presParOf" srcId="{D0DA215B-3279-4321-BE56-51F62467839D}" destId="{BB3BD93C-B625-4365-A84E-7D378C286DE7}" srcOrd="0" destOrd="0" presId="urn:microsoft.com/office/officeart/2009/3/layout/StepUpProcess"/>
    <dgm:cxn modelId="{F1349DE5-0D5E-4D5B-B08F-0301CE6681D3}" type="presParOf" srcId="{369D980E-34C5-4298-93D2-435275353054}" destId="{C37FBEEF-65FD-41F7-9DC5-89C7BDEB4991}" srcOrd="4" destOrd="0" presId="urn:microsoft.com/office/officeart/2009/3/layout/StepUpProcess"/>
    <dgm:cxn modelId="{8EB6E8F5-C64D-4099-9746-B7E1116EEB1A}" type="presParOf" srcId="{C37FBEEF-65FD-41F7-9DC5-89C7BDEB4991}" destId="{6816E276-C83B-4EA9-8854-5B6F1FA8C27E}" srcOrd="0" destOrd="0" presId="urn:microsoft.com/office/officeart/2009/3/layout/StepUpProcess"/>
    <dgm:cxn modelId="{9C16B4E5-92BA-4F1C-97F4-6F13AF35184D}" type="presParOf" srcId="{C37FBEEF-65FD-41F7-9DC5-89C7BDEB4991}" destId="{73E61A4B-0A69-4187-A0C3-762ECB3A7661}" srcOrd="1" destOrd="0" presId="urn:microsoft.com/office/officeart/2009/3/layout/StepUpProcess"/>
    <dgm:cxn modelId="{6C933744-936E-49DE-8445-2863C2FC1E80}" type="presParOf" srcId="{C37FBEEF-65FD-41F7-9DC5-89C7BDEB4991}" destId="{CED905F7-ABD2-42B5-AEC7-1DE7F6ED02A1}" srcOrd="2" destOrd="0" presId="urn:microsoft.com/office/officeart/2009/3/layout/StepUpProcess"/>
    <dgm:cxn modelId="{7061EB67-1542-49AE-83C3-E67742F2D5C1}" type="presParOf" srcId="{369D980E-34C5-4298-93D2-435275353054}" destId="{FED8446E-5DD4-4947-B1AD-33A9F146E4FC}" srcOrd="5" destOrd="0" presId="urn:microsoft.com/office/officeart/2009/3/layout/StepUpProcess"/>
    <dgm:cxn modelId="{CDAB09DE-B39A-431E-BACE-B731A85FA80C}" type="presParOf" srcId="{FED8446E-5DD4-4947-B1AD-33A9F146E4FC}" destId="{2C40179F-8796-4BC6-A9E1-826F7EABE863}" srcOrd="0" destOrd="0" presId="urn:microsoft.com/office/officeart/2009/3/layout/StepUpProcess"/>
    <dgm:cxn modelId="{874B1E7A-03CC-45ED-B7E0-2FF16D8BD39D}" type="presParOf" srcId="{369D980E-34C5-4298-93D2-435275353054}" destId="{54033306-A83E-4030-AA9F-64FF6317A23A}" srcOrd="6" destOrd="0" presId="urn:microsoft.com/office/officeart/2009/3/layout/StepUpProcess"/>
    <dgm:cxn modelId="{14777D09-D325-49A1-B315-5DA78CC803AF}" type="presParOf" srcId="{54033306-A83E-4030-AA9F-64FF6317A23A}" destId="{5126BBCA-532B-45FF-8D50-7C91FD7D966A}" srcOrd="0" destOrd="0" presId="urn:microsoft.com/office/officeart/2009/3/layout/StepUpProcess"/>
    <dgm:cxn modelId="{829C074F-7BEC-4BD6-A501-D38BD904C186}" type="presParOf" srcId="{54033306-A83E-4030-AA9F-64FF6317A23A}" destId="{D3660A19-4E2A-44F8-B16A-2B1F9E1E9A5F}" srcOrd="1" destOrd="0" presId="urn:microsoft.com/office/officeart/2009/3/layout/StepUpProcess"/>
    <dgm:cxn modelId="{EEE5E7D4-821F-4E41-A13C-B255EAEB5491}" type="presParOf" srcId="{54033306-A83E-4030-AA9F-64FF6317A23A}" destId="{05BA58DF-2184-4789-B734-96C8C39E2E51}" srcOrd="2" destOrd="0" presId="urn:microsoft.com/office/officeart/2009/3/layout/StepUpProcess"/>
    <dgm:cxn modelId="{DFB12E23-7D6A-455C-AF19-3F755075AE25}" type="presParOf" srcId="{369D980E-34C5-4298-93D2-435275353054}" destId="{3FB08D8C-97A5-4EA7-AF65-B00278C3560E}" srcOrd="7" destOrd="0" presId="urn:microsoft.com/office/officeart/2009/3/layout/StepUpProcess"/>
    <dgm:cxn modelId="{7B410E54-4AA4-41C9-AE86-00BA764ADB0C}" type="presParOf" srcId="{3FB08D8C-97A5-4EA7-AF65-B00278C3560E}" destId="{8BA0011F-1CB5-4495-B942-CF51DCF401C8}" srcOrd="0" destOrd="0" presId="urn:microsoft.com/office/officeart/2009/3/layout/StepUpProcess"/>
    <dgm:cxn modelId="{C71453B2-579B-4E49-AB21-F59B15C4B46F}" type="presParOf" srcId="{369D980E-34C5-4298-93D2-435275353054}" destId="{5C6D6C7C-279C-4E06-B3E3-AA1C99C9E44C}" srcOrd="8" destOrd="0" presId="urn:microsoft.com/office/officeart/2009/3/layout/StepUpProcess"/>
    <dgm:cxn modelId="{F3C1DB3A-00A1-4112-AAD6-08EAF448D400}" type="presParOf" srcId="{5C6D6C7C-279C-4E06-B3E3-AA1C99C9E44C}" destId="{DA7C7AC3-1838-47A6-B102-E78F4D2EB223}" srcOrd="0" destOrd="0" presId="urn:microsoft.com/office/officeart/2009/3/layout/StepUpProcess"/>
    <dgm:cxn modelId="{2DC541F6-C58A-40D4-A261-6C08AFE5AE3F}" type="presParOf" srcId="{5C6D6C7C-279C-4E06-B3E3-AA1C99C9E44C}" destId="{AF466CD9-2F35-43E6-B5EB-3E1FA748A1C0}" srcOrd="1" destOrd="0" presId="urn:microsoft.com/office/officeart/2009/3/layout/StepUpProcess"/>
    <dgm:cxn modelId="{B57F0079-8024-407D-BD91-782FF875C29B}" type="presParOf" srcId="{5C6D6C7C-279C-4E06-B3E3-AA1C99C9E44C}" destId="{5370A695-882A-42E9-BB5E-0FA314517B55}" srcOrd="2" destOrd="0" presId="urn:microsoft.com/office/officeart/2009/3/layout/StepUpProcess"/>
    <dgm:cxn modelId="{A7AA5821-1EB3-4428-A059-9E525925E0E6}" type="presParOf" srcId="{369D980E-34C5-4298-93D2-435275353054}" destId="{8A1542D0-4C64-4A7F-B8DC-4D900ACAC43D}" srcOrd="9" destOrd="0" presId="urn:microsoft.com/office/officeart/2009/3/layout/StepUpProcess"/>
    <dgm:cxn modelId="{C43363E5-72B2-4970-9CC4-0F83F549CF6D}" type="presParOf" srcId="{8A1542D0-4C64-4A7F-B8DC-4D900ACAC43D}" destId="{5BBA2FDA-A49F-45A4-823D-C9C6428C6C1C}" srcOrd="0" destOrd="0" presId="urn:microsoft.com/office/officeart/2009/3/layout/StepUpProcess"/>
    <dgm:cxn modelId="{B0EAFD1E-6943-4D18-A1C0-55BA61B8EF80}" type="presParOf" srcId="{369D980E-34C5-4298-93D2-435275353054}" destId="{F4345F11-CEAE-4A45-BED4-B79E36D26159}" srcOrd="10" destOrd="0" presId="urn:microsoft.com/office/officeart/2009/3/layout/StepUpProcess"/>
    <dgm:cxn modelId="{15F71B11-C0DF-4E61-93DE-9BBA26DE59E8}" type="presParOf" srcId="{F4345F11-CEAE-4A45-BED4-B79E36D26159}" destId="{00E51A33-580E-4F7B-A4DF-97D8FABFB94D}" srcOrd="0" destOrd="0" presId="urn:microsoft.com/office/officeart/2009/3/layout/StepUpProcess"/>
    <dgm:cxn modelId="{980CC1A2-FDF6-44E1-82C5-690789EB920A}" type="presParOf" srcId="{F4345F11-CEAE-4A45-BED4-B79E36D26159}" destId="{78C9D29D-B9EB-46E7-ADF9-AB71AAC899BC}" srcOrd="1" destOrd="0" presId="urn:microsoft.com/office/officeart/2009/3/layout/StepUpProcess"/>
    <dgm:cxn modelId="{FEE5799A-7A29-4E61-8BD8-F97CD98826B8}" type="presParOf" srcId="{F4345F11-CEAE-4A45-BED4-B79E36D26159}" destId="{D579981E-7620-4A16-8CD5-6D0341AA1A15}" srcOrd="2" destOrd="0" presId="urn:microsoft.com/office/officeart/2009/3/layout/StepUpProcess"/>
    <dgm:cxn modelId="{DF02C54A-DCEC-4D0B-ABED-B13A4B59BD71}" type="presParOf" srcId="{369D980E-34C5-4298-93D2-435275353054}" destId="{17F7A295-1BAF-4D7B-8B96-C260F42145A8}" srcOrd="11" destOrd="0" presId="urn:microsoft.com/office/officeart/2009/3/layout/StepUpProcess"/>
    <dgm:cxn modelId="{C4AC960F-EDA0-445D-9A3A-B10185E3CE19}" type="presParOf" srcId="{17F7A295-1BAF-4D7B-8B96-C260F42145A8}" destId="{B195C400-625B-4087-8109-7FF086C43358}" srcOrd="0" destOrd="0" presId="urn:microsoft.com/office/officeart/2009/3/layout/StepUpProcess"/>
    <dgm:cxn modelId="{B6C9F4CC-1812-4079-B077-840B7F042B7D}" type="presParOf" srcId="{369D980E-34C5-4298-93D2-435275353054}" destId="{FF2F83E5-79C2-431B-83CF-8D8DACAECDE7}" srcOrd="12" destOrd="0" presId="urn:microsoft.com/office/officeart/2009/3/layout/StepUpProcess"/>
    <dgm:cxn modelId="{8F7FA697-3F7E-44F6-9A73-B9B8E0AB46E6}" type="presParOf" srcId="{FF2F83E5-79C2-431B-83CF-8D8DACAECDE7}" destId="{40C52FC6-672C-4A89-87F5-D8F999ADC033}" srcOrd="0" destOrd="0" presId="urn:microsoft.com/office/officeart/2009/3/layout/StepUpProcess"/>
    <dgm:cxn modelId="{74B7A6B9-25E0-45C6-881D-46D176F655E2}" type="presParOf" srcId="{FF2F83E5-79C2-431B-83CF-8D8DACAECDE7}" destId="{89EB5499-ADD1-49F3-805A-9A33C5C1C25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58383A-4D82-49B0-BF35-38E0D23C5237}">
      <dsp:nvSpPr>
        <dsp:cNvPr id="0" name=""/>
        <dsp:cNvSpPr/>
      </dsp:nvSpPr>
      <dsp:spPr>
        <a:xfrm rot="5400000">
          <a:off x="220221" y="2418430"/>
          <a:ext cx="647068" cy="107670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BC16F0-5A69-4FCA-BF50-4592309B1242}">
      <dsp:nvSpPr>
        <dsp:cNvPr id="0" name=""/>
        <dsp:cNvSpPr/>
      </dsp:nvSpPr>
      <dsp:spPr>
        <a:xfrm>
          <a:off x="112209" y="2740134"/>
          <a:ext cx="972057" cy="8520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Registrere meg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Undervisning</a:t>
          </a:r>
        </a:p>
        <a:p>
          <a:pPr marL="57150" lvl="1" indent="-57150" algn="l" defTabSz="355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Eksamen</a:t>
          </a:r>
          <a:r>
            <a:rPr lang="nb-NO" sz="800" kern="1200">
              <a:latin typeface="Arial"/>
            </a:rPr>
            <a:t> </a:t>
          </a:r>
          <a:endParaRPr lang="nb-NO" sz="800" kern="1200"/>
        </a:p>
      </dsp:txBody>
      <dsp:txXfrm>
        <a:off x="112209" y="2740134"/>
        <a:ext cx="972057" cy="852065"/>
      </dsp:txXfrm>
    </dsp:sp>
    <dsp:sp modelId="{EC8EFFC2-6E6C-48BD-BB6A-054960676174}">
      <dsp:nvSpPr>
        <dsp:cNvPr id="0" name=""/>
        <dsp:cNvSpPr/>
      </dsp:nvSpPr>
      <dsp:spPr>
        <a:xfrm>
          <a:off x="900860" y="2339162"/>
          <a:ext cx="183407" cy="18340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006F91-F2E6-443F-B981-EC25B4EC6430}">
      <dsp:nvSpPr>
        <dsp:cNvPr id="0" name=""/>
        <dsp:cNvSpPr/>
      </dsp:nvSpPr>
      <dsp:spPr>
        <a:xfrm rot="5400000">
          <a:off x="1410209" y="2123966"/>
          <a:ext cx="647068" cy="107670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FFE063-3E5E-4A66-94E1-2F7FC0384785}">
      <dsp:nvSpPr>
        <dsp:cNvPr id="0" name=""/>
        <dsp:cNvSpPr/>
      </dsp:nvSpPr>
      <dsp:spPr>
        <a:xfrm>
          <a:off x="1302197" y="2445670"/>
          <a:ext cx="972057" cy="8520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Administrere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Informasjon fra studiekonsulen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Finne regler/rutiner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Søke permisjon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Godkjenning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Tilrettelegging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…</a:t>
          </a:r>
        </a:p>
      </dsp:txBody>
      <dsp:txXfrm>
        <a:off x="1302197" y="2445670"/>
        <a:ext cx="972057" cy="852065"/>
      </dsp:txXfrm>
    </dsp:sp>
    <dsp:sp modelId="{0989C4F2-8F5A-47B0-BE75-92345EE00B53}">
      <dsp:nvSpPr>
        <dsp:cNvPr id="0" name=""/>
        <dsp:cNvSpPr/>
      </dsp:nvSpPr>
      <dsp:spPr>
        <a:xfrm>
          <a:off x="2090848" y="2044698"/>
          <a:ext cx="183407" cy="18340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16E276-C83B-4EA9-8854-5B6F1FA8C27E}">
      <dsp:nvSpPr>
        <dsp:cNvPr id="0" name=""/>
        <dsp:cNvSpPr/>
      </dsp:nvSpPr>
      <dsp:spPr>
        <a:xfrm rot="5400000">
          <a:off x="2600198" y="1829502"/>
          <a:ext cx="647068" cy="107670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E61A4B-0A69-4187-A0C3-762ECB3A7661}">
      <dsp:nvSpPr>
        <dsp:cNvPr id="0" name=""/>
        <dsp:cNvSpPr/>
      </dsp:nvSpPr>
      <dsp:spPr>
        <a:xfrm>
          <a:off x="2492186" y="2151206"/>
          <a:ext cx="972057" cy="8520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Finne studieinfo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Program/emne-beskrivelser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Timeplan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Pensumlister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…</a:t>
          </a:r>
        </a:p>
      </dsp:txBody>
      <dsp:txXfrm>
        <a:off x="2492186" y="2151206"/>
        <a:ext cx="972057" cy="852065"/>
      </dsp:txXfrm>
    </dsp:sp>
    <dsp:sp modelId="{CED905F7-ABD2-42B5-AEC7-1DE7F6ED02A1}">
      <dsp:nvSpPr>
        <dsp:cNvPr id="0" name=""/>
        <dsp:cNvSpPr/>
      </dsp:nvSpPr>
      <dsp:spPr>
        <a:xfrm>
          <a:off x="3280837" y="1750234"/>
          <a:ext cx="183407" cy="18340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26BBCA-532B-45FF-8D50-7C91FD7D966A}">
      <dsp:nvSpPr>
        <dsp:cNvPr id="0" name=""/>
        <dsp:cNvSpPr/>
      </dsp:nvSpPr>
      <dsp:spPr>
        <a:xfrm rot="5400000">
          <a:off x="3790186" y="1535039"/>
          <a:ext cx="647068" cy="107670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660A19-4E2A-44F8-B16A-2B1F9E1E9A5F}">
      <dsp:nvSpPr>
        <dsp:cNvPr id="0" name=""/>
        <dsp:cNvSpPr/>
      </dsp:nvSpPr>
      <dsp:spPr>
        <a:xfrm>
          <a:off x="3682174" y="1856742"/>
          <a:ext cx="972057" cy="8520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Finne studiemateriell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Pensum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Forelesningsnotater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 err="1"/>
            <a:t>powerpoints</a:t>
          </a:r>
          <a:endParaRPr lang="nb-NO" sz="800" kern="1200"/>
        </a:p>
      </dsp:txBody>
      <dsp:txXfrm>
        <a:off x="3682174" y="1856742"/>
        <a:ext cx="972057" cy="852065"/>
      </dsp:txXfrm>
    </dsp:sp>
    <dsp:sp modelId="{05BA58DF-2184-4789-B734-96C8C39E2E51}">
      <dsp:nvSpPr>
        <dsp:cNvPr id="0" name=""/>
        <dsp:cNvSpPr/>
      </dsp:nvSpPr>
      <dsp:spPr>
        <a:xfrm>
          <a:off x="4470825" y="1455770"/>
          <a:ext cx="183407" cy="18340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7C7AC3-1838-47A6-B102-E78F4D2EB223}">
      <dsp:nvSpPr>
        <dsp:cNvPr id="0" name=""/>
        <dsp:cNvSpPr/>
      </dsp:nvSpPr>
      <dsp:spPr>
        <a:xfrm rot="5400000">
          <a:off x="4980175" y="1307871"/>
          <a:ext cx="647068" cy="107670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466CD9-2F35-43E6-B5EB-3E1FA748A1C0}">
      <dsp:nvSpPr>
        <dsp:cNvPr id="0" name=""/>
        <dsp:cNvSpPr/>
      </dsp:nvSpPr>
      <dsp:spPr>
        <a:xfrm>
          <a:off x="4872163" y="1696871"/>
          <a:ext cx="972057" cy="7174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Studere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Kommunisere med faglærer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Samarbeide med medstudenter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Levere oppgaver</a:t>
          </a:r>
        </a:p>
      </dsp:txBody>
      <dsp:txXfrm>
        <a:off x="4872163" y="1696871"/>
        <a:ext cx="972057" cy="717473"/>
      </dsp:txXfrm>
    </dsp:sp>
    <dsp:sp modelId="{5370A695-882A-42E9-BB5E-0FA314517B55}">
      <dsp:nvSpPr>
        <dsp:cNvPr id="0" name=""/>
        <dsp:cNvSpPr/>
      </dsp:nvSpPr>
      <dsp:spPr>
        <a:xfrm>
          <a:off x="5660814" y="1228602"/>
          <a:ext cx="183407" cy="18340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E51A33-580E-4F7B-A4DF-97D8FABFB94D}">
      <dsp:nvSpPr>
        <dsp:cNvPr id="0" name=""/>
        <dsp:cNvSpPr/>
      </dsp:nvSpPr>
      <dsp:spPr>
        <a:xfrm rot="5400000">
          <a:off x="6170163" y="1013407"/>
          <a:ext cx="647068" cy="107670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C9D29D-B9EB-46E7-ADF9-AB71AAC899BC}">
      <dsp:nvSpPr>
        <dsp:cNvPr id="0" name=""/>
        <dsp:cNvSpPr/>
      </dsp:nvSpPr>
      <dsp:spPr>
        <a:xfrm>
          <a:off x="6062152" y="1335111"/>
          <a:ext cx="972057" cy="8520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Ha studentliv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Finne ut hva som skjer på campu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Delta i foreninger mm</a:t>
          </a:r>
        </a:p>
      </dsp:txBody>
      <dsp:txXfrm>
        <a:off x="6062152" y="1335111"/>
        <a:ext cx="972057" cy="852065"/>
      </dsp:txXfrm>
    </dsp:sp>
    <dsp:sp modelId="{D579981E-7620-4A16-8CD5-6D0341AA1A15}">
      <dsp:nvSpPr>
        <dsp:cNvPr id="0" name=""/>
        <dsp:cNvSpPr/>
      </dsp:nvSpPr>
      <dsp:spPr>
        <a:xfrm>
          <a:off x="6850802" y="934139"/>
          <a:ext cx="183407" cy="18340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C52FC6-672C-4A89-87F5-D8F999ADC033}">
      <dsp:nvSpPr>
        <dsp:cNvPr id="0" name=""/>
        <dsp:cNvSpPr/>
      </dsp:nvSpPr>
      <dsp:spPr>
        <a:xfrm rot="5400000">
          <a:off x="7360152" y="718943"/>
          <a:ext cx="647068" cy="1076707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EB5499-ADD1-49F3-805A-9A33C5C1C258}">
      <dsp:nvSpPr>
        <dsp:cNvPr id="0" name=""/>
        <dsp:cNvSpPr/>
      </dsp:nvSpPr>
      <dsp:spPr>
        <a:xfrm>
          <a:off x="7252140" y="1040647"/>
          <a:ext cx="972057" cy="8520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Ta eksamen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Finne tid og sted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Avlegge digital eksamen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800" kern="1200"/>
            <a:t>Be om begrunnelse og klage</a:t>
          </a:r>
        </a:p>
      </dsp:txBody>
      <dsp:txXfrm>
        <a:off x="7252140" y="1040647"/>
        <a:ext cx="972057" cy="8520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26T08:46:57.54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1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1423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cs typeface="Calibri"/>
              </a:rPr>
              <a:t>Ulik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ammenheng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har</a:t>
            </a:r>
            <a:r>
              <a:rPr lang="en-US">
                <a:cs typeface="Calibri"/>
              </a:rPr>
              <a:t> vi </a:t>
            </a:r>
            <a:r>
              <a:rPr lang="en-US" err="1">
                <a:cs typeface="Calibri"/>
              </a:rPr>
              <a:t>blitt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klar</a:t>
            </a:r>
            <a:r>
              <a:rPr lang="en-US">
                <a:cs typeface="Calibri"/>
              </a:rPr>
              <a:t> over at </a:t>
            </a:r>
            <a:r>
              <a:rPr lang="en-US" err="1">
                <a:cs typeface="Calibri"/>
              </a:rPr>
              <a:t>ansatt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ikke</a:t>
            </a:r>
            <a:r>
              <a:rPr lang="en-US">
                <a:cs typeface="Calibri"/>
              </a:rPr>
              <a:t> vet </a:t>
            </a:r>
            <a:r>
              <a:rPr lang="en-US" err="1">
                <a:cs typeface="Calibri"/>
              </a:rPr>
              <a:t>så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mye</a:t>
            </a:r>
            <a:r>
              <a:rPr lang="en-US">
                <a:cs typeface="Calibri"/>
              </a:rPr>
              <a:t> om Mine studier. Det er I </a:t>
            </a:r>
            <a:r>
              <a:rPr lang="en-US" err="1">
                <a:cs typeface="Calibri"/>
              </a:rPr>
              <a:t>utgangspunktet</a:t>
            </a:r>
            <a:r>
              <a:rPr lang="en-US">
                <a:cs typeface="Calibri"/>
              </a:rPr>
              <a:t> ok, </a:t>
            </a:r>
            <a:r>
              <a:rPr lang="en-US" err="1">
                <a:cs typeface="Calibri"/>
              </a:rPr>
              <a:t>samtidi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om</a:t>
            </a:r>
            <a:r>
              <a:rPr lang="en-US">
                <a:cs typeface="Calibri"/>
              </a:rPr>
              <a:t> vi </a:t>
            </a:r>
            <a:r>
              <a:rPr lang="en-US" err="1">
                <a:cs typeface="Calibri"/>
              </a:rPr>
              <a:t>også</a:t>
            </a:r>
            <a:r>
              <a:rPr lang="en-US">
                <a:cs typeface="Calibri"/>
              </a:rPr>
              <a:t> ser at vi </a:t>
            </a:r>
            <a:r>
              <a:rPr lang="en-US" err="1">
                <a:cs typeface="Calibri"/>
              </a:rPr>
              <a:t>ha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behov</a:t>
            </a:r>
            <a:r>
              <a:rPr lang="en-US">
                <a:cs typeface="Calibri"/>
              </a:rPr>
              <a:t> for at </a:t>
            </a:r>
            <a:r>
              <a:rPr lang="en-US" err="1">
                <a:cs typeface="Calibri"/>
              </a:rPr>
              <a:t>ansatte</a:t>
            </a:r>
            <a:r>
              <a:rPr lang="en-US">
                <a:cs typeface="Calibri"/>
              </a:rPr>
              <a:t> vet </a:t>
            </a:r>
            <a:r>
              <a:rPr lang="en-US" err="1">
                <a:cs typeface="Calibri"/>
              </a:rPr>
              <a:t>hva</a:t>
            </a:r>
            <a:r>
              <a:rPr lang="en-US">
                <a:cs typeface="Calibri"/>
              </a:rPr>
              <a:t> mine studier er (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de </a:t>
            </a:r>
            <a:r>
              <a:rPr lang="en-US" err="1">
                <a:cs typeface="Calibri"/>
              </a:rPr>
              <a:t>andr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jenestene</a:t>
            </a:r>
            <a:r>
              <a:rPr lang="en-US">
                <a:cs typeface="Calibri"/>
              </a:rPr>
              <a:t>) –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hvordan</a:t>
            </a:r>
            <a:r>
              <a:rPr lang="en-US">
                <a:cs typeface="Calibri"/>
              </a:rPr>
              <a:t> den </a:t>
            </a:r>
            <a:r>
              <a:rPr lang="en-US" err="1">
                <a:cs typeface="Calibri"/>
              </a:rPr>
              <a:t>samhandler</a:t>
            </a:r>
            <a:r>
              <a:rPr lang="en-US">
                <a:cs typeface="Calibri"/>
              </a:rPr>
              <a:t> med </a:t>
            </a:r>
            <a:r>
              <a:rPr lang="en-US" err="1">
                <a:cs typeface="Calibri"/>
              </a:rPr>
              <a:t>andr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jenester</a:t>
            </a:r>
            <a:r>
              <a:rPr lang="en-US">
                <a:cs typeface="Calibri"/>
              </a:rPr>
              <a:t> vi </a:t>
            </a:r>
            <a:r>
              <a:rPr lang="en-US" err="1">
                <a:cs typeface="Calibri"/>
              </a:rPr>
              <a:t>har</a:t>
            </a:r>
            <a:r>
              <a:rPr lang="en-US">
                <a:cs typeface="Calibri"/>
              </a:rPr>
              <a:t>. Det </a:t>
            </a:r>
            <a:r>
              <a:rPr lang="en-US" err="1">
                <a:cs typeface="Calibri"/>
              </a:rPr>
              <a:t>ka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bety</a:t>
            </a:r>
            <a:r>
              <a:rPr lang="en-US">
                <a:cs typeface="Calibri"/>
              </a:rPr>
              <a:t> at de </a:t>
            </a:r>
            <a:r>
              <a:rPr lang="en-US" err="1">
                <a:cs typeface="Calibri"/>
              </a:rPr>
              <a:t>ka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unngå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litt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dobbeltarbeid</a:t>
            </a:r>
            <a:r>
              <a:rPr lang="en-US">
                <a:cs typeface="Calibri"/>
              </a:rPr>
              <a:t> med å </a:t>
            </a:r>
            <a:r>
              <a:rPr lang="en-US" err="1">
                <a:cs typeface="Calibri"/>
              </a:rPr>
              <a:t>varsl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tudenter</a:t>
            </a:r>
            <a:r>
              <a:rPr lang="en-US">
                <a:cs typeface="Calibri"/>
              </a:rPr>
              <a:t>.  I </a:t>
            </a:r>
            <a:r>
              <a:rPr lang="en-US" err="1">
                <a:cs typeface="Calibri"/>
              </a:rPr>
              <a:t>tillegg</a:t>
            </a:r>
            <a:r>
              <a:rPr lang="en-US">
                <a:cs typeface="Calibri"/>
              </a:rPr>
              <a:t> er det mange </a:t>
            </a:r>
            <a:r>
              <a:rPr lang="en-US" err="1">
                <a:cs typeface="Calibri"/>
              </a:rPr>
              <a:t>som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reng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unksjonalitet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il</a:t>
            </a:r>
            <a:r>
              <a:rPr lang="en-US">
                <a:cs typeface="Calibri"/>
              </a:rPr>
              <a:t> å </a:t>
            </a:r>
            <a:r>
              <a:rPr lang="en-US" err="1">
                <a:cs typeface="Calibri"/>
              </a:rPr>
              <a:t>sjekk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tudenters</a:t>
            </a:r>
            <a:r>
              <a:rPr lang="en-US">
                <a:cs typeface="Calibri"/>
              </a:rPr>
              <a:t> "view" -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de </a:t>
            </a:r>
            <a:r>
              <a:rPr lang="en-US" err="1">
                <a:cs typeface="Calibri"/>
              </a:rPr>
              <a:t>må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vite</a:t>
            </a:r>
            <a:r>
              <a:rPr lang="en-US">
                <a:cs typeface="Calibri"/>
              </a:rPr>
              <a:t> at I TP </a:t>
            </a:r>
            <a:r>
              <a:rPr lang="en-US" err="1">
                <a:cs typeface="Calibri"/>
              </a:rPr>
              <a:t>kan</a:t>
            </a:r>
            <a:r>
              <a:rPr lang="en-US">
                <a:cs typeface="Calibri"/>
              </a:rPr>
              <a:t> man </a:t>
            </a:r>
            <a:r>
              <a:rPr lang="en-US" err="1">
                <a:cs typeface="Calibri"/>
              </a:rPr>
              <a:t>huke</a:t>
            </a:r>
            <a:r>
              <a:rPr lang="en-US">
                <a:cs typeface="Calibri"/>
              </a:rPr>
              <a:t> av for å </a:t>
            </a:r>
            <a:r>
              <a:rPr lang="en-US" err="1">
                <a:cs typeface="Calibri"/>
              </a:rPr>
              <a:t>varsl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tudent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automatisk</a:t>
            </a:r>
            <a:r>
              <a:rPr lang="en-US">
                <a:cs typeface="Calibri"/>
              </a:rPr>
              <a:t>, for </a:t>
            </a:r>
            <a:r>
              <a:rPr lang="en-US" err="1">
                <a:cs typeface="Calibri"/>
              </a:rPr>
              <a:t>eksempel</a:t>
            </a:r>
            <a:r>
              <a:rPr lang="en-US">
                <a:cs typeface="Calibri"/>
              </a:rPr>
              <a:t>. </a:t>
            </a:r>
            <a:r>
              <a:rPr lang="en-US" err="1">
                <a:cs typeface="Calibri"/>
              </a:rPr>
              <a:t>Så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derfor</a:t>
            </a:r>
            <a:r>
              <a:rPr lang="en-US">
                <a:cs typeface="Calibri"/>
              </a:rPr>
              <a:t>: </a:t>
            </a:r>
            <a:r>
              <a:rPr lang="en-US" err="1">
                <a:cs typeface="Calibri"/>
              </a:rPr>
              <a:t>ambassadør</a:t>
            </a:r>
            <a:r>
              <a:rPr lang="en-US">
                <a:cs typeface="Calibri"/>
              </a:rPr>
              <a:t>-forum - </a:t>
            </a:r>
          </a:p>
          <a:p>
            <a:r>
              <a:rPr lang="en-US" err="1">
                <a:cs typeface="Calibri"/>
              </a:rPr>
              <a:t>Historier</a:t>
            </a:r>
            <a:r>
              <a:rPr lang="en-US">
                <a:cs typeface="Calibri"/>
              </a:rPr>
              <a:t>: </a:t>
            </a:r>
            <a:r>
              <a:rPr lang="en-US" err="1">
                <a:cs typeface="Calibri"/>
              </a:rPr>
              <a:t>skull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nå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ut</a:t>
            </a:r>
            <a:r>
              <a:rPr lang="en-US">
                <a:cs typeface="Calibri"/>
              </a:rPr>
              <a:t> med info </a:t>
            </a:r>
            <a:r>
              <a:rPr lang="en-US" err="1">
                <a:cs typeface="Calibri"/>
              </a:rPr>
              <a:t>til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tudent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raskt</a:t>
            </a:r>
            <a:r>
              <a:rPr lang="en-US">
                <a:cs typeface="Calibri"/>
              </a:rPr>
              <a:t>– </a:t>
            </a:r>
            <a:r>
              <a:rPr lang="en-US" err="1">
                <a:cs typeface="Calibri"/>
              </a:rPr>
              <a:t>visst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ikk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kanal</a:t>
            </a:r>
            <a:r>
              <a:rPr lang="en-US">
                <a:cs typeface="Calibri"/>
              </a:rPr>
              <a:t>, </a:t>
            </a:r>
            <a:r>
              <a:rPr lang="en-US" err="1">
                <a:cs typeface="Calibri"/>
              </a:rPr>
              <a:t>endte</a:t>
            </a:r>
            <a:r>
              <a:rPr lang="en-US">
                <a:cs typeface="Calibri"/>
              </a:rPr>
              <a:t> med </a:t>
            </a:r>
            <a:r>
              <a:rPr lang="en-US" err="1">
                <a:cs typeface="Calibri"/>
              </a:rPr>
              <a:t>facebook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tik </a:t>
            </a:r>
            <a:r>
              <a:rPr lang="en-US" err="1">
                <a:cs typeface="Calibri"/>
              </a:rPr>
              <a:t>tok</a:t>
            </a:r>
            <a:r>
              <a:rPr lang="en-US">
                <a:cs typeface="Calibri"/>
              </a:rPr>
              <a:t>? (</a:t>
            </a:r>
            <a:r>
              <a:rPr lang="en-US" err="1">
                <a:cs typeface="Calibri"/>
              </a:rPr>
              <a:t>muli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jeg</a:t>
            </a:r>
            <a:r>
              <a:rPr lang="en-US">
                <a:cs typeface="Calibri"/>
              </a:rPr>
              <a:t> husker </a:t>
            </a:r>
            <a:r>
              <a:rPr lang="en-US" err="1">
                <a:cs typeface="Calibri"/>
              </a:rPr>
              <a:t>feil</a:t>
            </a:r>
            <a:r>
              <a:rPr lang="en-US">
                <a:cs typeface="Calibri"/>
              </a:rPr>
              <a:t>) - I </a:t>
            </a:r>
            <a:r>
              <a:rPr lang="en-US" err="1">
                <a:cs typeface="Calibri"/>
              </a:rPr>
              <a:t>stedet</a:t>
            </a:r>
            <a:r>
              <a:rPr lang="en-US">
                <a:cs typeface="Calibri"/>
              </a:rPr>
              <a:t> for å </a:t>
            </a:r>
            <a:r>
              <a:rPr lang="en-US" err="1">
                <a:cs typeface="Calibri"/>
              </a:rPr>
              <a:t>bruk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vår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vanlig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kanaler</a:t>
            </a:r>
            <a:r>
              <a:rPr lang="en-US">
                <a:cs typeface="Calibri"/>
              </a:rPr>
              <a:t> –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rygges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på</a:t>
            </a:r>
            <a:r>
              <a:rPr lang="en-US">
                <a:cs typeface="Calibri"/>
              </a:rPr>
              <a:t> at info </a:t>
            </a:r>
            <a:r>
              <a:rPr lang="en-US" err="1">
                <a:cs typeface="Calibri"/>
              </a:rPr>
              <a:t>nå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ut</a:t>
            </a:r>
            <a:r>
              <a:rPr lang="en-US">
                <a:cs typeface="Calibri"/>
              </a:rPr>
              <a:t> . 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4309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9456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3415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Det</a:t>
            </a:r>
            <a:r>
              <a:rPr lang="nb-NO" baseline="0" dirty="0"/>
              <a:t> er valgfritt om å bruke canvas i dag. </a:t>
            </a: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I og profesjonsstudiet i medisin er vel de som ikke bruker Canvas, men de andre studiene på </a:t>
            </a:r>
            <a:r>
              <a:rPr lang="nb-N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dFak</a:t>
            </a: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r Canvasrom.</a:t>
            </a:r>
            <a:r>
              <a:rPr lang="nb-NO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 noen undervisere på IFI bruker Canvas nå også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aseline="0" dirty="0"/>
              <a:t>Avtalen til canvas løpet på: </a:t>
            </a:r>
            <a:r>
              <a:rPr lang="nb-N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+1+1+1+1 som løp fra september 2017, tror jeg. Så vi er akkurat ferdig med det fjerde av de 4</a:t>
            </a: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dirty="0"/>
              <a:t>Bildet: </a:t>
            </a:r>
            <a:r>
              <a:rPr lang="nb-N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er for øvrig det nest mest besøkte Canvasrommet vårt dette semesteret (det mest besøkte er </a:t>
            </a:r>
            <a:r>
              <a:rPr lang="nb-NO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exPhil</a:t>
            </a:r>
            <a:r>
              <a:rPr lang="nb-N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et åpne rommet som supplerer egenstudiet i </a:t>
            </a:r>
            <a:r>
              <a:rPr lang="nb-NO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hil</a:t>
            </a:r>
            <a:r>
              <a:rPr lang="nb-N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pPr rtl="0"/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d</a:t>
            </a:r>
            <a:r>
              <a:rPr lang="nb-NO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kke på canvas: </a:t>
            </a: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udiestrukturen er for komplisert til å lage fornuftig romstruktur i Canvas (modulbasert i stedet  for emnebasert), og vi mangler støtte i FS for å organisere/gi tilgang til alle de hundre </a:t>
            </a:r>
            <a:r>
              <a:rPr lang="nb-N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gpersonenene</a:t>
            </a: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om skal inn og ut av Canvas </a:t>
            </a:r>
            <a:br>
              <a:rPr lang="nb-NO" dirty="0"/>
            </a:b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 er vel egentlig fagpersonene som er det springende punkt 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791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vorfor har UiO utviklet Mine Studier? Hvilken oppgave forsøker vi å løse? Det handler om kommunikasjon med studentene. Fordi. Når du er UiO-student kan kommunikasjonen se sånn her ut: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5EE58-2F23-2144-9B87-DEE0BF91BFE7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46772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D5EE58-2F23-2144-9B87-DEE0BF91BFE7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4843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Minne </a:t>
            </a:r>
            <a:r>
              <a:rPr lang="en-US" dirty="0" err="1">
                <a:ea typeface="Calibri"/>
                <a:cs typeface="Calibri"/>
              </a:rPr>
              <a:t>kjapt</a:t>
            </a:r>
            <a:r>
              <a:rPr lang="en-US" dirty="0">
                <a:ea typeface="Calibri"/>
                <a:cs typeface="Calibri"/>
              </a:rPr>
              <a:t> om </a:t>
            </a:r>
            <a:r>
              <a:rPr lang="en-US" dirty="0" err="1">
                <a:ea typeface="Calibri"/>
                <a:cs typeface="Calibri"/>
              </a:rPr>
              <a:t>hva</a:t>
            </a:r>
            <a:r>
              <a:rPr lang="en-US" dirty="0">
                <a:ea typeface="Calibri"/>
                <a:cs typeface="Calibri"/>
              </a:rPr>
              <a:t> Mine studier er: </a:t>
            </a:r>
          </a:p>
          <a:p>
            <a:r>
              <a:rPr lang="en-US" dirty="0">
                <a:ea typeface="Calibri"/>
                <a:cs typeface="Calibri"/>
              </a:rPr>
              <a:t>Mange </a:t>
            </a:r>
            <a:r>
              <a:rPr lang="en-US" dirty="0" err="1">
                <a:ea typeface="Calibri"/>
                <a:cs typeface="Calibri"/>
              </a:rPr>
              <a:t>stystemer</a:t>
            </a:r>
            <a:r>
              <a:rPr lang="en-US" dirty="0">
                <a:ea typeface="Calibri"/>
                <a:cs typeface="Calibri"/>
              </a:rPr>
              <a:t> å </a:t>
            </a:r>
            <a:r>
              <a:rPr lang="en-US" dirty="0" err="1">
                <a:ea typeface="Calibri"/>
                <a:cs typeface="Calibri"/>
              </a:rPr>
              <a:t>forholde</a:t>
            </a:r>
            <a:r>
              <a:rPr lang="en-US" dirty="0">
                <a:ea typeface="Calibri"/>
                <a:cs typeface="Calibri"/>
              </a:rPr>
              <a:t> seg </a:t>
            </a:r>
            <a:r>
              <a:rPr lang="en-US" dirty="0" err="1">
                <a:ea typeface="Calibri"/>
                <a:cs typeface="Calibri"/>
              </a:rPr>
              <a:t>til</a:t>
            </a:r>
            <a:r>
              <a:rPr lang="en-US" dirty="0">
                <a:ea typeface="Calibri"/>
                <a:cs typeface="Calibri"/>
              </a:rPr>
              <a:t> – Mine studier </a:t>
            </a:r>
            <a:r>
              <a:rPr lang="en-US" dirty="0" err="1">
                <a:ea typeface="Calibri"/>
                <a:cs typeface="Calibri"/>
              </a:rPr>
              <a:t>en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inngangsvei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til</a:t>
            </a:r>
            <a:r>
              <a:rPr lang="en-US" dirty="0">
                <a:ea typeface="Calibri"/>
                <a:cs typeface="Calibri"/>
              </a:rPr>
              <a:t> det </a:t>
            </a:r>
            <a:r>
              <a:rPr lang="en-US" dirty="0" err="1">
                <a:ea typeface="Calibri"/>
                <a:cs typeface="Calibri"/>
              </a:rPr>
              <a:t>digitale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læringsmiljøet</a:t>
            </a:r>
          </a:p>
          <a:p>
            <a:endParaRPr lang="en-US" dirty="0">
              <a:ea typeface="Calibri"/>
              <a:cs typeface="+mn-lt"/>
            </a:endParaRPr>
          </a:p>
          <a:p>
            <a:r>
              <a:rPr lang="en-US" dirty="0">
                <a:ea typeface="Calibri"/>
                <a:cs typeface="+mn-lt"/>
              </a:rPr>
              <a:t>Desktop </a:t>
            </a:r>
            <a:r>
              <a:rPr lang="en-US" dirty="0" err="1">
                <a:ea typeface="Calibri"/>
                <a:cs typeface="+mn-lt"/>
              </a:rPr>
              <a:t>og</a:t>
            </a:r>
            <a:r>
              <a:rPr lang="en-US" dirty="0">
                <a:ea typeface="Calibri"/>
                <a:cs typeface="+mn-lt"/>
              </a:rPr>
              <a:t> app</a:t>
            </a:r>
            <a:br>
              <a:rPr lang="en-US" dirty="0">
                <a:ea typeface="Calibri"/>
                <a:cs typeface="+mn-lt"/>
              </a:rPr>
            </a:br>
            <a:endParaRPr lang="en-US">
              <a:ea typeface="Calibri"/>
              <a:cs typeface="Calibri"/>
            </a:endParaRPr>
          </a:p>
          <a:p>
            <a:r>
              <a:rPr lang="en-US" dirty="0">
                <a:ea typeface="Calibri"/>
                <a:cs typeface="Calibri"/>
              </a:rPr>
              <a:t>Samler </a:t>
            </a:r>
            <a:r>
              <a:rPr lang="en-US" dirty="0" err="1">
                <a:ea typeface="Calibri"/>
                <a:cs typeface="Calibri"/>
              </a:rPr>
              <a:t>beskjeder</a:t>
            </a:r>
            <a:r>
              <a:rPr lang="en-US" dirty="0">
                <a:ea typeface="Calibri"/>
                <a:cs typeface="Calibri"/>
              </a:rPr>
              <a:t> </a:t>
            </a:r>
            <a:r>
              <a:rPr lang="en-US" dirty="0" err="1">
                <a:ea typeface="Calibri"/>
                <a:cs typeface="Calibri"/>
              </a:rPr>
              <a:t>fra</a:t>
            </a:r>
            <a:r>
              <a:rPr lang="en-US" dirty="0">
                <a:ea typeface="Calibri"/>
                <a:cs typeface="Calibri"/>
              </a:rPr>
              <a:t> Canvas </a:t>
            </a:r>
            <a:r>
              <a:rPr lang="en-US" dirty="0" err="1">
                <a:ea typeface="Calibri"/>
                <a:cs typeface="Calibri"/>
              </a:rPr>
              <a:t>og</a:t>
            </a:r>
            <a:r>
              <a:rPr lang="en-US" dirty="0">
                <a:ea typeface="Calibri"/>
                <a:cs typeface="Calibri"/>
              </a:rPr>
              <a:t> Vortex</a:t>
            </a:r>
            <a:endParaRPr lang="en-US"/>
          </a:p>
          <a:p>
            <a:r>
              <a:rPr lang="en-US" dirty="0" err="1">
                <a:ea typeface="Calibri"/>
                <a:cs typeface="Calibri"/>
              </a:rPr>
              <a:t>Timeplan</a:t>
            </a:r>
            <a:r>
              <a:rPr lang="en-US" dirty="0">
                <a:ea typeface="Calibri"/>
                <a:cs typeface="Calibri"/>
              </a:rPr>
              <a:t>, </a:t>
            </a:r>
            <a:r>
              <a:rPr lang="en-US" dirty="0" err="1">
                <a:ea typeface="Calibri"/>
                <a:cs typeface="Calibri"/>
              </a:rPr>
              <a:t>inkl</a:t>
            </a:r>
            <a:r>
              <a:rPr lang="en-US" dirty="0">
                <a:ea typeface="Calibri"/>
                <a:cs typeface="Calibri"/>
              </a:rPr>
              <a:t>. </a:t>
            </a:r>
            <a:r>
              <a:rPr lang="en-US" dirty="0" err="1">
                <a:ea typeface="Calibri"/>
                <a:cs typeface="Calibri"/>
              </a:rPr>
              <a:t>Eksamen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o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innleveringer</a:t>
            </a:r>
            <a:r>
              <a:rPr lang="en-US" dirty="0">
                <a:ea typeface="Calibri"/>
                <a:cs typeface="Calibri"/>
              </a:rPr>
              <a:t>, </a:t>
            </a:r>
            <a:r>
              <a:rPr lang="en-US" dirty="0" err="1">
                <a:ea typeface="Calibri"/>
                <a:cs typeface="Calibri"/>
              </a:rPr>
              <a:t>rombestilling</a:t>
            </a:r>
            <a:r>
              <a:rPr lang="en-US" dirty="0">
                <a:ea typeface="Calibri"/>
                <a:cs typeface="Calibri"/>
              </a:rPr>
              <a:t>, </a:t>
            </a:r>
            <a:r>
              <a:rPr lang="en-US" dirty="0" err="1">
                <a:ea typeface="Calibri"/>
                <a:cs typeface="Calibri"/>
              </a:rPr>
              <a:t>ressurser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etc</a:t>
            </a:r>
            <a:r>
              <a:rPr lang="en-US" dirty="0">
                <a:ea typeface="Calibri"/>
                <a:cs typeface="Calibri"/>
              </a:rPr>
              <a:t>  + push-</a:t>
            </a:r>
            <a:r>
              <a:rPr lang="en-US" dirty="0" err="1">
                <a:ea typeface="Calibri"/>
                <a:cs typeface="Calibri"/>
              </a:rPr>
              <a:t>varsler</a:t>
            </a:r>
            <a:r>
              <a:rPr lang="en-US" dirty="0">
                <a:ea typeface="Calibri"/>
                <a:cs typeface="Calibri"/>
              </a:rPr>
              <a:t> om </a:t>
            </a:r>
            <a:r>
              <a:rPr lang="en-US" dirty="0" err="1">
                <a:ea typeface="Calibri"/>
                <a:cs typeface="Calibri"/>
              </a:rPr>
              <a:t>avlyst</a:t>
            </a:r>
            <a:r>
              <a:rPr lang="en-US" dirty="0">
                <a:ea typeface="Calibri"/>
                <a:cs typeface="Calibri"/>
              </a:rPr>
              <a:t> </a:t>
            </a:r>
            <a:r>
              <a:rPr lang="en-US" dirty="0" err="1">
                <a:ea typeface="Calibri"/>
                <a:cs typeface="Calibri"/>
              </a:rPr>
              <a:t>undervisnin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o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endringer</a:t>
            </a:r>
            <a:r>
              <a:rPr lang="en-US" dirty="0">
                <a:ea typeface="Calibri"/>
                <a:cs typeface="Calibri"/>
              </a:rPr>
              <a:t> (app)</a:t>
            </a:r>
          </a:p>
          <a:p>
            <a:r>
              <a:rPr lang="en-US" dirty="0" err="1">
                <a:ea typeface="Calibri"/>
                <a:cs typeface="Calibri"/>
              </a:rPr>
              <a:t>Snarveier</a:t>
            </a:r>
            <a:r>
              <a:rPr lang="en-US" dirty="0">
                <a:ea typeface="Calibri"/>
                <a:cs typeface="Calibri"/>
              </a:rPr>
              <a:t>: </a:t>
            </a:r>
            <a:r>
              <a:rPr lang="en-US" dirty="0" err="1">
                <a:ea typeface="Calibri"/>
                <a:cs typeface="Calibri"/>
              </a:rPr>
              <a:t>felles</a:t>
            </a:r>
            <a:r>
              <a:rPr lang="en-US" dirty="0">
                <a:ea typeface="Calibri"/>
                <a:cs typeface="Calibri"/>
              </a:rPr>
              <a:t> + </a:t>
            </a:r>
            <a:r>
              <a:rPr lang="en-US" dirty="0" err="1">
                <a:ea typeface="Calibri"/>
                <a:cs typeface="Calibri"/>
              </a:rPr>
              <a:t>egne</a:t>
            </a:r>
          </a:p>
          <a:p>
            <a:r>
              <a:rPr lang="en-US" dirty="0">
                <a:ea typeface="Calibri"/>
                <a:cs typeface="Calibri"/>
              </a:rPr>
              <a:t>Lenker </a:t>
            </a:r>
            <a:r>
              <a:rPr lang="en-US" dirty="0" err="1">
                <a:ea typeface="Calibri"/>
                <a:cs typeface="Calibri"/>
              </a:rPr>
              <a:t>til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nettsider</a:t>
            </a:r>
            <a:r>
              <a:rPr lang="en-US" dirty="0">
                <a:ea typeface="Calibri"/>
                <a:cs typeface="Calibri"/>
              </a:rPr>
              <a:t> for </a:t>
            </a:r>
            <a:r>
              <a:rPr lang="en-US" dirty="0" err="1">
                <a:ea typeface="Calibri"/>
                <a:cs typeface="Calibri"/>
              </a:rPr>
              <a:t>studieprogram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o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emner</a:t>
            </a:r>
          </a:p>
          <a:p>
            <a:r>
              <a:rPr lang="en-US" dirty="0" err="1">
                <a:ea typeface="Calibri"/>
                <a:cs typeface="Calibri"/>
              </a:rPr>
              <a:t>Søke</a:t>
            </a:r>
            <a:r>
              <a:rPr lang="en-US" dirty="0">
                <a:ea typeface="Calibri"/>
                <a:cs typeface="Calibri"/>
              </a:rPr>
              <a:t> om </a:t>
            </a:r>
            <a:r>
              <a:rPr lang="en-US" dirty="0" err="1">
                <a:ea typeface="Calibri"/>
                <a:cs typeface="Calibri"/>
              </a:rPr>
              <a:t>tilrettelegging</a:t>
            </a:r>
            <a:r>
              <a:rPr lang="en-US" dirty="0">
                <a:ea typeface="Calibri"/>
                <a:cs typeface="Calibri"/>
              </a:rPr>
              <a:t>, </a:t>
            </a:r>
            <a:r>
              <a:rPr lang="en-US" dirty="0" err="1">
                <a:ea typeface="Calibri"/>
                <a:cs typeface="Calibri"/>
              </a:rPr>
              <a:t>permisjon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o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fravæ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282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102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Jobber sammen med studiestartnettverket på dette konseptet.</a:t>
            </a:r>
            <a:endParaRPr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5427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</a:t>
            </a:r>
            <a:r>
              <a:rPr lang="en-US" dirty="0" err="1"/>
              <a:t>høst</a:t>
            </a:r>
            <a:r>
              <a:rPr lang="en-US" dirty="0"/>
              <a:t> </a:t>
            </a:r>
            <a:r>
              <a:rPr lang="en-US" dirty="0" err="1"/>
              <a:t>lanserte</a:t>
            </a:r>
            <a:r>
              <a:rPr lang="en-US" dirty="0"/>
              <a:t> vi to nye </a:t>
            </a:r>
            <a:r>
              <a:rPr lang="en-US" dirty="0" err="1"/>
              <a:t>tjenester</a:t>
            </a:r>
            <a:r>
              <a:rPr lang="en-US" dirty="0"/>
              <a:t> for </a:t>
            </a:r>
            <a:r>
              <a:rPr lang="en-US" dirty="0" err="1"/>
              <a:t>studentene</a:t>
            </a:r>
            <a:r>
              <a:rPr lang="en-US" dirty="0"/>
              <a:t> I </a:t>
            </a:r>
            <a:r>
              <a:rPr lang="en-US" dirty="0" err="1"/>
              <a:t>studiestartperioden</a:t>
            </a:r>
            <a:r>
              <a:rPr lang="en-US" dirty="0"/>
              <a:t>: </a:t>
            </a:r>
            <a:r>
              <a:rPr lang="en-US" dirty="0" err="1"/>
              <a:t>Sjekkliste</a:t>
            </a:r>
            <a:r>
              <a:rPr lang="en-US" dirty="0"/>
              <a:t> med ting de </a:t>
            </a:r>
            <a:r>
              <a:rPr lang="en-US" dirty="0" err="1"/>
              <a:t>må</a:t>
            </a:r>
            <a:r>
              <a:rPr lang="en-US" dirty="0"/>
              <a:t> </a:t>
            </a:r>
            <a:r>
              <a:rPr lang="en-US" dirty="0" err="1"/>
              <a:t>huske</a:t>
            </a:r>
            <a:r>
              <a:rPr lang="en-US" dirty="0"/>
              <a:t> å </a:t>
            </a:r>
            <a:r>
              <a:rPr lang="en-US" dirty="0" err="1"/>
              <a:t>gjøre</a:t>
            </a:r>
            <a:r>
              <a:rPr lang="en-US" dirty="0"/>
              <a:t> + </a:t>
            </a:r>
            <a:r>
              <a:rPr lang="en-US" dirty="0" err="1"/>
              <a:t>aktivitetene</a:t>
            </a:r>
            <a:r>
              <a:rPr lang="en-US" dirty="0"/>
              <a:t> I </a:t>
            </a:r>
            <a:r>
              <a:rPr lang="en-US" dirty="0" err="1"/>
              <a:t>studiestartperioden</a:t>
            </a:r>
            <a:r>
              <a:rPr lang="en-US" dirty="0"/>
              <a:t> inn I </a:t>
            </a:r>
            <a:r>
              <a:rPr lang="en-US" dirty="0" err="1"/>
              <a:t>timeplanen</a:t>
            </a:r>
            <a:r>
              <a:rPr lang="en-US" dirty="0"/>
              <a:t>.</a:t>
            </a:r>
            <a:endParaRPr lang="en-US" dirty="0">
              <a:ea typeface="Calibri"/>
              <a:cs typeface="Calibri"/>
            </a:endParaRPr>
          </a:p>
          <a:p>
            <a:r>
              <a:rPr lang="en-US" dirty="0" err="1">
                <a:ea typeface="Calibri"/>
                <a:cs typeface="Calibri"/>
              </a:rPr>
              <a:t>Mål</a:t>
            </a:r>
            <a:r>
              <a:rPr lang="en-US" dirty="0">
                <a:ea typeface="Calibri"/>
                <a:cs typeface="Calibri"/>
              </a:rPr>
              <a:t>: </a:t>
            </a:r>
            <a:r>
              <a:rPr lang="en-US" dirty="0" err="1">
                <a:ea typeface="Calibri"/>
                <a:cs typeface="Calibri"/>
              </a:rPr>
              <a:t>trygge</a:t>
            </a:r>
            <a:r>
              <a:rPr lang="en-US" dirty="0">
                <a:ea typeface="Calibri"/>
                <a:cs typeface="Calibri"/>
              </a:rPr>
              <a:t> dem </a:t>
            </a:r>
            <a:r>
              <a:rPr lang="en-US" dirty="0" err="1">
                <a:ea typeface="Calibri"/>
                <a:cs typeface="Calibri"/>
              </a:rPr>
              <a:t>o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gi</a:t>
            </a:r>
            <a:r>
              <a:rPr lang="en-US" dirty="0">
                <a:ea typeface="Calibri"/>
                <a:cs typeface="Calibri"/>
              </a:rPr>
              <a:t> dem </a:t>
            </a:r>
            <a:r>
              <a:rPr lang="en-US" dirty="0" err="1">
                <a:ea typeface="Calibri"/>
                <a:cs typeface="Calibri"/>
              </a:rPr>
              <a:t>en</a:t>
            </a:r>
            <a:r>
              <a:rPr lang="en-US" dirty="0">
                <a:ea typeface="Calibri"/>
                <a:cs typeface="Calibri"/>
              </a:rPr>
              <a:t> god </a:t>
            </a:r>
            <a:r>
              <a:rPr lang="en-US" dirty="0" err="1">
                <a:ea typeface="Calibri"/>
                <a:cs typeface="Calibri"/>
              </a:rPr>
              <a:t>overgang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til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livet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som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UiO</a:t>
            </a:r>
            <a:r>
              <a:rPr lang="en-US" dirty="0">
                <a:ea typeface="Calibri"/>
                <a:cs typeface="Calibri"/>
              </a:rPr>
              <a:t>-student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688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Basert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innsikt</a:t>
            </a:r>
            <a:r>
              <a:rPr lang="en-US"/>
              <a:t> </a:t>
            </a:r>
            <a:r>
              <a:rPr lang="en-US" err="1"/>
              <a:t>har</a:t>
            </a:r>
            <a:r>
              <a:rPr lang="en-US"/>
              <a:t> via workshop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innspill</a:t>
            </a:r>
            <a:r>
              <a:rPr lang="en-US"/>
              <a:t> </a:t>
            </a:r>
            <a:r>
              <a:rPr lang="en-US" err="1"/>
              <a:t>utarbeidet</a:t>
            </a:r>
            <a:r>
              <a:rPr lang="en-US"/>
              <a:t> to </a:t>
            </a:r>
            <a:r>
              <a:rPr lang="en-US" err="1"/>
              <a:t>konsepter</a:t>
            </a:r>
            <a:r>
              <a:rPr lang="en-US"/>
              <a:t>, </a:t>
            </a:r>
            <a:r>
              <a:rPr lang="en-US" err="1"/>
              <a:t>ett</a:t>
            </a:r>
            <a:r>
              <a:rPr lang="en-US"/>
              <a:t> for </a:t>
            </a:r>
            <a:r>
              <a:rPr lang="en-US" err="1"/>
              <a:t>Studenter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et for </a:t>
            </a:r>
            <a:r>
              <a:rPr lang="en-US" err="1"/>
              <a:t>Ansat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8217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8" name="Shape 1398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99" name="Shape 1399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9202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Titteltekst"/>
          <p:cNvSpPr txBox="1">
            <a:spLocks noGrp="1"/>
          </p:cNvSpPr>
          <p:nvPr>
            <p:ph type="title"/>
          </p:nvPr>
        </p:nvSpPr>
        <p:spPr>
          <a:xfrm>
            <a:off x="382932" y="2503592"/>
            <a:ext cx="3717654" cy="1325564"/>
          </a:xfrm>
          <a:prstGeom prst="rect">
            <a:avLst/>
          </a:prstGeom>
        </p:spPr>
        <p:txBody>
          <a:bodyPr/>
          <a:lstStyle>
            <a:lvl1pPr>
              <a:defRPr sz="4500"/>
            </a:lvl1pPr>
          </a:lstStyle>
          <a:p>
            <a:r>
              <a:t>Titteltekst</a:t>
            </a:r>
          </a:p>
        </p:txBody>
      </p:sp>
      <p:sp>
        <p:nvSpPr>
          <p:cNvPr id="142" name="Brødtekst nivå én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02666" y="1768007"/>
            <a:ext cx="5863170" cy="435133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defRPr sz="4500"/>
            </a:lvl1pPr>
            <a:lvl2pPr marL="0" indent="0">
              <a:spcBef>
                <a:spcPts val="0"/>
              </a:spcBef>
              <a:buSzTx/>
              <a:buNone/>
              <a:defRPr sz="4500"/>
            </a:lvl2pPr>
            <a:lvl3pPr marL="0" indent="0">
              <a:spcBef>
                <a:spcPts val="0"/>
              </a:spcBef>
              <a:buSzTx/>
              <a:buNone/>
              <a:defRPr sz="4500"/>
            </a:lvl3pPr>
            <a:lvl4pPr marL="0" indent="0">
              <a:spcBef>
                <a:spcPts val="0"/>
              </a:spcBef>
              <a:buSzTx/>
              <a:buNone/>
              <a:defRPr sz="4500"/>
            </a:lvl4pPr>
            <a:lvl5pPr marL="2514725" indent="-685833">
              <a:spcBef>
                <a:spcPts val="0"/>
              </a:spcBef>
              <a:defRPr sz="4500"/>
            </a:lvl5pPr>
          </a:lstStyle>
          <a:p>
            <a:r>
              <a:t>Punkt A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3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217584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D376E2-616D-D548-8524-E0E797CA7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544512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0732FC-A393-4B4F-81FD-994D22249A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2005012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1E05C4-2D2E-6B4A-A909-38709619D9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19905-64CE-154D-BB5F-D0029705A072}" type="datetimeFigureOut">
              <a:rPr lang="nb-NO" smtClean="0"/>
              <a:t>06.11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98FEA0-2E13-274C-9BA6-DD435F406C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5E990-38EE-6346-8A02-A96FC57E1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4BEF80-AE67-4A48-B009-03AE5E212B1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9206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28E63-6511-CB44-AF3D-8DA4B5CBF5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04B343-F059-764A-8A9B-7530C4138D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F165B-3CB3-F640-A073-266E7A226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4BEF80-AE67-4A48-B009-03AE5E212B1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9227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402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39" imgH="343" progId="TCLayout.ActiveDocument.1">
                  <p:embed/>
                </p:oleObj>
              </mc:Choice>
              <mc:Fallback>
                <p:oleObj name="think-cell Slide" r:id="rId3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  <p:sldLayoutId id="2147483731" r:id="rId29"/>
    <p:sldLayoutId id="2147483732" r:id="rId30"/>
    <p:sldLayoutId id="2147483733" r:id="rId31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5" Type="http://schemas.openxmlformats.org/officeDocument/2006/relationships/hyperlink" Target="https://minestudier.uio.no/?demo=1" TargetMode="External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9.png"/><Relationship Id="rId4" Type="http://schemas.openxmlformats.org/officeDocument/2006/relationships/image" Target="../media/image48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6.png"/><Relationship Id="rId5" Type="http://schemas.openxmlformats.org/officeDocument/2006/relationships/image" Target="../media/image49.png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65.png"/><Relationship Id="rId5" Type="http://schemas.openxmlformats.org/officeDocument/2006/relationships/image" Target="../media/image76.png"/><Relationship Id="rId4" Type="http://schemas.openxmlformats.org/officeDocument/2006/relationships/customXml" Target="../ink/ink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rbeidsstotte/sta/canvas/veiledninger/utnytt-mulighetene/lti-og-tredjepartsprogrammer/" TargetMode="External"/><Relationship Id="rId2" Type="http://schemas.openxmlformats.org/officeDocument/2006/relationships/hyperlink" Target="https://www.uio.no/for-ansatte/arbeidsstotte/sta/canvas/veiledninger/utnytt-mulighetene/lti-og-tredjepartsprogrammer/lti.html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9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www.uio.no/for-ansatte/arbeidsstotte/prosjekter/nestegenerasjons-digitalt-laringsmiljo/sluttrapport-prosjekt-digitalt-leringsmiljo-2030.pdf" TargetMode="Externa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79037" y="1417802"/>
            <a:ext cx="5075367" cy="2387600"/>
          </a:xfrm>
        </p:spPr>
        <p:txBody>
          <a:bodyPr/>
          <a:lstStyle/>
          <a:p>
            <a:r>
              <a:rPr lang="en-US" dirty="0"/>
              <a:t>LMU</a:t>
            </a:r>
            <a:br>
              <a:rPr lang="en-US" dirty="0"/>
            </a:br>
            <a:r>
              <a:rPr lang="en-US" dirty="0"/>
              <a:t>Mine Studier </a:t>
            </a:r>
            <a:r>
              <a:rPr lang="en-US" dirty="0" err="1"/>
              <a:t>og</a:t>
            </a:r>
            <a:r>
              <a:rPr lang="en-US" dirty="0"/>
              <a:t> Canva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b-NO" dirty="0"/>
              <a:t>Anne-Lise Lan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06.11.2023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0711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C48233EB-5816-06CC-8121-FBB824D767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310" y="1717960"/>
            <a:ext cx="5982271" cy="2755326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5DB9DBDB-8906-BA70-A8A0-8A8E85320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861825" cy="754068"/>
          </a:xfrm>
        </p:spPr>
        <p:txBody>
          <a:bodyPr/>
          <a:lstStyle/>
          <a:p>
            <a:r>
              <a:rPr lang="nb-NO" sz="3600" b="1" dirty="0"/>
              <a:t>Mine studier</a:t>
            </a:r>
            <a:r>
              <a:rPr lang="nb-NO" sz="3600" dirty="0"/>
              <a:t>: </a:t>
            </a:r>
            <a:br>
              <a:rPr lang="nb-NO" sz="3600" dirty="0"/>
            </a:br>
            <a:r>
              <a:rPr lang="nb-NO" sz="3600" dirty="0"/>
              <a:t>Persontilpasset inngangsvei til det digitale læringsmiljøet</a:t>
            </a:r>
            <a:br>
              <a:rPr lang="nb-NO" sz="3600" b="1" dirty="0"/>
            </a:br>
            <a:endParaRPr lang="nb-NO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F52F33FF-7B22-5B89-6E6A-BB87717C626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4"/>
          <a:stretch>
            <a:fillRect/>
          </a:stretch>
        </p:blipFill>
        <p:spPr>
          <a:xfrm>
            <a:off x="7212434" y="1491557"/>
            <a:ext cx="4599398" cy="3356907"/>
          </a:xfrm>
          <a:noFill/>
        </p:spPr>
      </p:pic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8284B14C-EA43-CDDD-AE94-01EA12A63C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749D2-F469-177F-2A12-5D9AEE012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Side </a:t>
            </a:r>
            <a:fld id="{5251F420-7306-4E7C-A79E-F31A38F7D392}" type="slidenum">
              <a:rPr lang="en-US" dirty="0" smtClean="0"/>
              <a:pPr>
                <a:spcAft>
                  <a:spcPts val="600"/>
                </a:spcAft>
              </a:pPr>
              <a:t>10</a:t>
            </a:fld>
            <a:endParaRPr lang="en-US" dirty="0"/>
          </a:p>
        </p:txBody>
      </p:sp>
      <p:sp>
        <p:nvSpPr>
          <p:cNvPr id="8" name="Title 9">
            <a:extLst>
              <a:ext uri="{FF2B5EF4-FFF2-40B4-BE49-F238E27FC236}">
                <a16:creationId xmlns:a16="http://schemas.microsoft.com/office/drawing/2014/main" id="{D168A479-BCFA-8D5C-CD43-430158FF3462}"/>
              </a:ext>
            </a:extLst>
          </p:cNvPr>
          <p:cNvSpPr txBox="1">
            <a:spLocks/>
          </p:cNvSpPr>
          <p:nvPr/>
        </p:nvSpPr>
        <p:spPr>
          <a:xfrm>
            <a:off x="483310" y="5324146"/>
            <a:ext cx="9144000" cy="18787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nb-NO" dirty="0"/>
            </a:br>
            <a:endParaRPr lang="en-GB" dirty="0"/>
          </a:p>
        </p:txBody>
      </p:sp>
      <p:sp>
        <p:nvSpPr>
          <p:cNvPr id="9" name="Title 9">
            <a:extLst>
              <a:ext uri="{FF2B5EF4-FFF2-40B4-BE49-F238E27FC236}">
                <a16:creationId xmlns:a16="http://schemas.microsoft.com/office/drawing/2014/main" id="{D168A479-BCFA-8D5C-CD43-430158FF3462}"/>
              </a:ext>
            </a:extLst>
          </p:cNvPr>
          <p:cNvSpPr txBox="1">
            <a:spLocks/>
          </p:cNvSpPr>
          <p:nvPr/>
        </p:nvSpPr>
        <p:spPr>
          <a:xfrm>
            <a:off x="635710" y="5476546"/>
            <a:ext cx="9144000" cy="18787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>
                <a:hlinkClick r:id="rId5"/>
              </a:rPr>
              <a:t>Demo av Mine studier</a:t>
            </a:r>
            <a:br>
              <a:rPr lang="nb-NO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06604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A512643-2EDE-54D0-DE82-167AE7C898A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1999" cy="6858000"/>
          </a:xfr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A894CA-EDCA-4DF0-B46D-4E1C3C5FBDE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A22B37-3A84-932C-F6E8-A36182126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549963" y="2950269"/>
            <a:ext cx="9144000" cy="1878763"/>
          </a:xfrm>
        </p:spPr>
        <p:txBody>
          <a:bodyPr/>
          <a:lstStyle/>
          <a:p>
            <a:r>
              <a:rPr lang="nb-NO"/>
              <a:t>Studiesta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602C8B-73F2-9F6F-9C6F-DA955F44C8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D4350B-BB3D-DFC6-B211-B8A0A91DA7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55E32-E766-061D-1476-54FC0CE4F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8" name="Picture 7" descr="Several cell phones with text and images&#10;&#10;Description automatically generated with medium confidence">
            <a:extLst>
              <a:ext uri="{FF2B5EF4-FFF2-40B4-BE49-F238E27FC236}">
                <a16:creationId xmlns:a16="http://schemas.microsoft.com/office/drawing/2014/main" id="{88E7BD86-7597-86EF-2330-696BA9C24A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2548" y="570807"/>
            <a:ext cx="6175450" cy="6151699"/>
          </a:xfrm>
          <a:prstGeom prst="rect">
            <a:avLst/>
          </a:prstGeom>
        </p:spPr>
      </p:pic>
      <p:sp>
        <p:nvSpPr>
          <p:cNvPr id="9" name="AutoShape 2" descr="data:image/png;base64,%20iVBORw0KGgoAAAANSUhEUgAABfIAAAMVCAYAAAA8lgVBAAAAAXNSR0IArs4c6QAAAARnQU1BAACxjwv8YQUAAAAJcEhZcwAADsMAAA7DAcdvqGQAAP+lSURBVHhe7N0HtCZHeef/vmmSZpQ1yhllAUIoIHLOa7wca7GN465X+/eubbzrNetsY5xYp12zDgJsTDQw5CQBAiQhCUmDhHLOeWYURmHSjf/+1Lx1eefq3pk7+c7M73tOn+qurtRdT1c/9VR1dU8z85iJZQohhBBCCCGEEEIIIYSwazDWcWcMvR03hBBCCCGEEEIIIYQQQggzkJkw+z0z8EMIIYQQQgghhBBCCCHMNGbMzPzMyA8hhBBCCCGEEEIIIYQQZjDbcjb85uaVmfshhBBCCCGEEEIIIYQQNpfNnWm/zWfqZ0Z+CCGEEEIIIYQQQgghhDCD2Zqz3Dc27U0qy9lnn52Z+iGEEEIIIYQQQgghhBDWYdGiRZs6c35j4231GfqZkR9CCCGEEEIIIYQQQgghzGC2xmz26aY5nXA9Z599dmd3apYuXZpZ+SGEEEIIIYQQQgghhBAKCxcu3OAs+UWLFnGmO5t+S8y63+Q0ZrIhv5yfzJC/IcP9M888szWua5xVq1Zt1fRDCCGEEEIIIYQQQghhZ2Tu3LlbdRma+fPnrzf9bgN/x5BfmU65Nrfsmxx/SxqkN5TWpOfXt8b9VAb7DRnqt7ahfXBwcKumH0IIIYQQQgghhBBCCDsjs2bN2lxj+HrZ0EDBVIb+9c3gX89a+5t6LRsdb0sapDeU1qTnJzPkT9eAvyGD/ZYyuA8NDW2RdEIIIYQQQgghhBBCCCH8iIGBgU01hq/DhgYIpjLwTzTsT2bQ31kM+VOlsd60uw34Ew33U824n2i435ChngH+iCOO6BxtOmvWrFlvPiGEEEIIIYQQQgghhBA2ntmzZ2+qMXyce+65Z4MDAlMZ+ica+DfRsD9p2tNg2vG2hIF6qjTWm3Y15E/HiL8hA/5UM+ZHRkZ6DjnkkM7RxpOZ+CGEEEIIIYQQQgghhLD12ZyZ+Q888EDT19c3afyJ6U5m0N9YY/6OZsifKu6k/utbQmdDS+ZMZrjvnmk/2Yz5DRnhY6QPIYQQQgghhBBCCCGEmc90jfyTheue8T/ZzP2Jhv2NMep3fpa7zvkOk/mtjw2G3xxj9lRxJ/WfaimdbiP+VAb8iUb3OtN+ov/E4+Hh4XWOu5FGZzeEEEIIIYQQQgghhBDCDGWq2fbd9Pf3rxNmosHesZn7lZrmVIb99Rn0qzG/Y8jHOmFbJh5viA2G3xRj9lRxJvPvOfvsszu7G56BP9XM++4Z99VYvyGjfTXU77PPPuW4MpVxP4b9EEIIIYQQQgghhBBC2P5Mx3CParx/7LHHyvHEeOsz7nfv11n73TP2p5qpP9kM/S0wM3+D4TbFeD1VnIn+5bga8icz4nfPwO824lcj/cSZ99WtxviJxvfu49HR0bK/1157lePKVIb8Gj6EEEIIIYQQQgghhBDC9qO3t3daBvBqqH/iiSfK8cR43Yb9uj+VcZ/bvdb+ZAb9qYz5F110UT1ex79l4vFUbDDcxhivpwq7jv/EtfAnW0ZnujPwuw34E433e+yxxzpxq/90DfUTBwF233334k70DyGEEEIIIYQQQgghhLD1qUb0p556qhxPZOKM+8pEA/5EY32N9+STTxa3O50attugzzVLf7IZ+lMtuTNh7fx1wrRMPJ7Ihs5vO0P++oz41WDPiD7VDHznqpGdUd5M+4lG+2qsn8wYP9GQP/F4wYIFxY0hP4QQQgghhBBCCCGEELY91cD+9NNPl+OJTDVTf30z8es5Bnsz9+txDVPdyQz665uh323Qn2jM316G/KnCrOO/KTPxGeqnmoHP7Tbg77333sXIXo33U82w32233dZ7vjLxfGUq/xBCCCGEEEIIIYQQQghbj6kM9ZWpzldj+8TzK1asKMcTz1ejffXvnqm/qTP0u435k6yZ370/GRs6v/UN+esz4jOub2gNfBvjep2Bb78a5buN7nV/3rx5zzqHDR1XpvIPIYQQQgghhBBCCCGEsPXYVEN+9Z94fuXKlWMTz01m1K8z9Z2r57sN+tV4//DDD4/7cacy5k+yZn51p2JD59dryJ/q3GT+PRN/aov1GfEPPPDAnskM+NVIbw18+90z8B1PnHFfDf3dfu2NK26lpjk2NraO/3SN9tMNF0IIIYQQQgghhBBCCGHDTDS6T8VU4Xp6etbxrwb4VatWjfuLW+M7X/fXN1Of38QZ+t3G/K00M38q/3HWZ6Ce6txE/3I80ZDPiD+ZAZ/LsL7//vuPG/Inm4G/YMGC4me/+tm6Z9zXrR5zu434E89VJh5PNPBX2kqZ1D+EEEIIIYQQQgghhBDC5rNmzZr1GrEnGuwnGva7j+t+NebX427XZqZ+97H9auifbIZ+NeYLx61r52/ImL8RM/On8h9nfYbqqc6t41+X1JlqJj4jPoP9xLXwbd0G/O4Z+Azt9p0zA78ec22tXzHG86tG+HrOfjXAd5/jViYeT2XIbytgUv8QQgghhBBCCCGEEEIIm8/g4OB6jdjTNeTXcHVgoPpz6znGd0b+7nPVgO/YTP16XJfWcWyGPneiQd9SO+sz5m/Cz2+n8t/yhvzJjPj33HPPKn4hhBBCCCGEEEIIIYQQwrbi5JNPPoxhvm6M+qtXry4G825/hnqG/LrPFYbxvhryqzGfPwP+kiVLit+GjPlby5A/mR/W8e/+ue36fmx78MEH91x44YUx5IcQQgghhBBCCCGEEELYppx66qlHMMoz4JutXw33zvFjiK+z9G2OJxr0Ge/tV4O+uHV2/mQz8yeblY/NMej3dtxNZn1GfLPx63I6IYQQQgghhBBCCCGEEMK2ZGRkpHd4eLiXaxsaGuobHBzss/y6Jde7l3S3dR/XfcvB2+/e+NUl5B1z5ccuXm3k6F6SfnPYbEM+JjPic0MIIYQQQgghhBBCCCGE7UVfh+Hh4b7+/v6+gYGB3lmzZvXW/ZGRkd7Zs2cXPy6j/5w5c8o2d+7c4g4NDfEv/3mt/3rtNubvv//+PQceeOC4Mb9S7ebVmG+Vm+6VblrsrxOnw7P8N8uQrwBTGfEnjkSEEEIIIYQQQgghhBBCCNsSBnxbpR63W5mdz6Bvhj6DPj8Gfe7E2flt2GLMr35cGz828G57ePes/InG/E1lOoZ8GYxnMsmowTjdRnwjEEYi7JeTIYQQQgghhBBCCCGEEMI2pGO/L/T39/eahc91bL8a7yfO0K+z84eGhsqs/N12260Y8wcHB3sXLFhQZuZ3shjnkEMOaY444ojO0XrZaJv5Js/I7x5BMLow2Ux8mxGJEiiEEEIIIYQQQgghhBBC2IaMjIyYbT8+Ex/c0dHRMiO/HrdbOa7G/bp1z8ivM/G57blJZ+X7Zyy3e1b+FGyU3XyywBP9ynH3LPxqxO9eVqca8g8++ODxwtpcxI033vi0cyGEEEIIIYQQQgghhBDCtuKUU055QU9Pz5itr69vdGhoaKy3t3e03YrruJ4bHBwsrnPtfnE7/mV/YGCguCtWrOA/NmvWrFHuM888M9rf3+982R5++OHitufH5s6dO6Yc8+fPLy4WLlxY9hctWjTu12HK442ekT+ZEZ8LhvuJRnwjEp3TIYQQQgghhBBCCCGEEMI2o6/FjHzb8PBwX29v7zoz9C2z0x6vs7X+Zbmdzgz88Zn57f74mvn2W//i1v1qF3fM7Z6VX+3pm8pm/ey2UmfjT8ZkawWFEEIIIYQQQgghhBBCCFubkZERtvxisK9GfK4NjPmW02n9x9fP53Yb8+fOnVs2foz01su3OddtzO9k+ay18jewxM602CxDfveSOt0jDbbJLiCEEEIIIYQQQgghhBBC2Fb09PSw4BcD/ujoaJ2BX9bIb91iuOdWY3717zbmc20dw73z47PyuXWfTbzax7vXylcOtvTNmZW/PkO+RCdNeLIMjTAYaagoeC18xyuEEEIIIYQQQgghhBBC2GYw4vf09NRZ+IzwxZhfpuO3DHeW2+Hyt42NjRXjfHVnz55d3Dlz5pSZ+dVwX90FCxb0WJlmuvbwunx9y7Rt5xs1I18G010bn78LsZVAIYQQQgghhBBCCCGEEMI2hOF+dHS0GOury7Df7pfZ9wz33L6+vvHZ+LbufVudsd9uxeZdN3lU1zlbtZPX/e6l6at9fWON+d2GfBGmijStxLoxAmEkQmE7XiGEEEIIIYQQQgghhBDCNqMa7ke61savW7d/t1uX25k1a1aPjaG+e5Z+nZU/b968sla+fExu33vvvZt99tmn7DPgb2it/LPPPrts02E6M/JL4l0jBOMYSegeWbAppGNbJ1gIIYQQQgghhBBCCCGEsM3pzL4fN9LbHPMfGxtrvXstpTM+I7+61Zhvczy8dm388fXyqzHf1vqPu9U+Lm/28lKIls1dK3+DhvwNjQqsb218ha8jEiGEEEIIIYQQQgghhBDCtmR0wrI6tmrEr0b+ejzRmF+X02ndMhPfWvl1vXw28IlutxHfPrcuSW9/c9ioNfIrRg3qbPyJa+PXggvXvR9CCCGEEEIIIYQQQgghbEt6enr6W6ds9kdHR8sM/GrEZ9ivxxON+SNrjfjrzNBn0Gfzrm7d5FXdaszvNuDbn7hW/mSr4EwFQ77A3REmHk+LasS3DtBee+01/qPbWugQQgghhBBCCCGEEEIIYVtSZ+HXmfjVHV1rxC9GejDiV7f+ALd7eR2G+2q8r7Py58yZU9yJa+Vzu435VrXpXit/EqoNnVv312GjZuQbJZi4ID/qyILC2bpn5ttKoBBCCCGEEEIIIYQQQghhGzI6OrrOWvjdRvxu/+r29fWxaZfldBjwuX54a5+tm2tjzG/DM+B3cvqR8b7axLuX1+HCrPxuG3vXrPxxv8nYpKV1uuk24nMVTkGNQBiJqIUOIYQQQgghhBBCCCGEELYlDPTVeD/RiO+424jfnisbAz1jPbd7n0HfxuY92SY/rhVr9thjj3LcvbzOVKznP7XilvjTMuQbFej+k25dH7/beM+tha3+6B6RCCGEEEIIIYQQQgghhBC2Fd1GfMb6arTvPm7PF9e6+Pwci8p4323Et88G7thmny2825XnZMvrbO5Pbzd5Rr41fQ455JDxEQUjDHVtfMfcujkOIYQQQgghhBBCCCGEELYlo11G/Iku2vM2xv66v84Pb7uN9nW/Hle/um+rxvvqbik2ypBv7Z7uP+tWI34t1MSZ+d0FDyGEEEIIIYQQQgghhBC2JVMZ8bmja5fZGV9qpz0eN+JDdGvk9/f3M9KvY9S3de+vze1HE9w7h1uMKQ35Z599do+tc7jRMODXi+l4hRBCCCGEEEIIIYQQQgjbDAb6qYz5ttG1BvqyVSO+rY3Kvl1+bNsJU4z67X5ZZsexH946njt3bnH9M9a/Y9nGTXqv7tqSbB4bnJHf9dfcceqaPp3DSVHwzm4IIYQQQgghhBBCCCGEsM2pM+8nGvEr9hnl291inO/r61tnBr4kuPy41Yhff3rLmC+fasy3PxH2dBvDPteqN1a/6f4v7YbYqKV1JqOOKChEdWuBuVMVPoQQQgghhBBCCCGEEELYmoyNjY0vnTNxG+3MvJ/kfDXqj8/G794m2r3tV7t4detW7ebwz1n/nt0EejbLkD9xjXwF46Lud/uFEEIIIYQQQgghhBBCCNuKnp6eYpxHZ3/cIO90NeJ3qIb63joDv87Qr3Gqvbse2xxvbTZ7Rn6lzsy3BpC1gOz7nIAbQgghhBBCCCGEEEIIIWxrxjqz7Bnn6z6q2+XPKF/cNlox5nf8ynHd7/Ibpxr3tybTMuRbq8eaPZ3DKen+TKAa8esaQSGEEEIIIYQQQgghhBDCtsQsfFu7O26859bZ+Wbc2/g5dr5zXA32xfWj2+6Z+XXrnqHPnYzh4eGyNn5d4aYbtvfJ/lM7kU2ekd+9rE73iIP9erwtRiI2luuuu65ZuXJl56gp+1dffXXnKIQQQgghhBBCCCGEEMLOwtjY2KRG/NaPIb4cj46uXSu/E3YdQ33d1mfr7raH143dfMGCBT177LHHFrGRb5Qh3990GfDrzHsjCeXEJNQwLrJ4bGceeuih5tJLL20++clPNueff35z2WWXle28885rPvGJTzTf//73myVLlnRCT057Ta65cxRCCCGEEEIIIYQQQghhhjNuvO92YX+0Y8R33D0Tf+La+BLimplv6zbaO1fdDbFmzZpJZ+Z3ZuVPmcZGGfLhr7r+rlvZZ599mr322mt8tGHiDP2ZwAMPPND8y7/8S/PII4+UGfiPP/548+ijjzbLli1rnnjiieL38MMPN+eee245XrFiRfNXf/VXzeWXX17if+5zn2v+9V//tRj7v/vd7xa/EEIIIYQQQgghhBBCCDObsS7jva31Kob70Y4B38ZA371N5l+P2b47x+PU42oj9w9Z/5ItJ7cQfe02McFyfNJJJxV3xYoVPWbiDw8PFyP97rvvPm6s5zdnzpxyXP2MUnCNWLR+5Sb9l//yX35dWtuLW265xU1s3vGOdzSnnnpq89KXvrQ5/vjjy3bKKac0p512WnPGGWc09913XzN//nw/7G3++I//uBj1+f/BH/xB2Rd+1apVzR133NF85zvfaS6++OLmxBNPbG6++ebmYx/7mPWMmqOOOsq6S52cQwghhBBCCCGEEEIIIWwvPvCBD3yrdUzBH+vpYYNfS93nb4NwfX1964Tr7+8fredHR0fLuTbc6MDAQInHr+PPBj2ennRGRkbEH2NT5rZ+jY0dGW2STZtOM2vWrHJ87733FncyNnpG/kQY822dwxlJe+PKLPunnnrKT3jLjXrsscfKxn/vvfduVq9ebd3/Et4NPOigg8oxA/2+++5bvjows//OO+8sS/QMDg4Wg/63vvWt5m//9m/LLP9//ud/9glESSOEEEIIIYQQQgghhBDCdqfMoLfZr1s97j431X67jc+6R9e5wuzZs8v+3Llzx/0wOrp2BZvO4Wax2Yb8qXAhCmrreG03+vv7m0suuaT54Ac/WIzuv/Ebv1GM7pbb+YVf+IXmFa94RfOqV72q+Anblr0Y/M3UX7RoUTnXXkfZnINzhx122PiPc/fff//m9NNPb+bMmVOOQwghhBBCCCGEEEIIIWx32KfLxmaN3t7e8eMutxrru430Zb/7/MTjWbNmlf2pjPmV4eHhSdfGnwRhnhVuixny69I6M8V4342Z9W95y1uKAf+Xf/mXmzPPPLN597vf3fzmb/5mc+CBB5aZ9n50a6Z+e/OLMd7yO6973euaX/mVX2le+cpXNmeddVZz3HHHNc973vPKcjv77bdf2X/uc5/b/Oqv/mrJ44ADDhj/DCKEEEIIIYQQQgghhBDC9mWsa4389rAYye0zwnf2u91xYz2/7uN6vrI+G/im2sjPPvvssk3GVpuRP9OwdI7lcCylMzIyUja0FVBm2juu+/PmzWt+8Rd/sRj5ratvzXwG+5e85CXNa1/72ubHf/zHm2OOOaZ585vf3LzgBS9ojj766LIx7H/7298u6YYQQgghhBBCCCGEEELYvtTZ91wGffv1uHtmvn++2tpjlHNdx2Ull4GBgXWM+tVgvylG+41lkw35PgPYUuv7bG3cZOvaf/SjHy1L5XzjG99ofu3Xfq3MtvcjXMvk+Akuwz0Y8619f+6555Yf2X76059ufvu3f7u56aabmvPOO695+umnm69+9avN8uXLm8985jPNP/3TPzXnn3++zyNKXnW9/C9+8YvNk08+2XzhC19oPvKRj5Q1+UMIIYQQQgghhBBCCCFsG6rhvWN8n9Z+u2Hcr+vcemHQ31o2800y5E9nLR+Fnu4Fbm3Mtn/hC1/YvP3tb2/e9ra3FeP6V77yleZLX/pS09PTU4zujPw+W2jLWwz1H/7wh5v777+/bH52a9kcy+d89rOfLbP6Gee/+c1vlhn4hxxySPnb8F133dVcc801JT2u9C+88MLmU5/6VLNgwYIy0z+EEEIIIYQQQgghhBDCNoN9um5lhn6diW9j13XcsWN3z9R/Ft227mr77t46p55Ft3F/UyfIb/bSOjJltN99992LsXom0t7EYkTfe++9y6z7gYGBYng3e95mvXtl5y+sNfL94JZB/6KLLirnLa8jjCV6brzxxrJMjx/d8jv44IOLkd9MfvGfeOKJksaJJ57YzJ8/348Omle/+tXlB7ohhBBCCCGEEEIIIYQQtg3dRvbJ9usxOvtl6z7f5V/DTAu28+Hh4WmHXx8bZcg3WrBmzZotkvG25NBDD20eeuih5hOf+ESZHc8YzzBvs282/sc//vHm4YcfLmF7e3uLgd95P8Y96aSTSjrtTS8/vf3e975XluJ5/etf3+y5557F2C/cYYcd1hx//PHNL/zCLxSjvTSspe/nuGb+hxBCCCGEEEIIIYQQQth2mF1vUncLA233NpFpGXBnzZrF7jutsFuSyQpdjs8+++ziLl26tOeZZ57pWbVqVc+KFSt6DzzwwB4G/Y5Rv3f+/Pm9g4ODvbvtthu/Xtvw8HDvwMBAX7vf115U37XXXnuXtLYny5Ytax544IFiUDdDnrEeZtG312EkpTn88MPLrP2KczVcCCGEEEIIIYQQQgghhB2L00477ffHxsZGbO3hcE9Pz/h+6w739vYWtx739fUVd+LW399f3Pb8COxzW/9yPDAwMDI8PDzSnh8dHBwcbf25/EdXrFgxOmvWLH5j7fHYkiVLxubMmcNvbO7cuWPz588fU9aFCxcWd9GiRdyyX9llrNSWx3nBC17QnHLKKc0JJ5zQHHfccWWzz8+5biM+YsQPIYQQQgghhBBCCCGEHZexZy+LU/bZfqdj/+3v7y9LsqMTv2C/+3hrs8Us1SMjI2WRfuvl2zreIYQQQgghhBBCCCGEEML2pttmPb7u/WRu3SY5topLcbc10zLkW1ZncHBwuxQwhBBCCCGEEEIIIYQQQthEihG+MwN/3CA/Eevod9bSn5Iad6o01odJ8MOb8ePbrB0TQgghhBBCCCGEEEIIYWelGs/HjegdQ/z45rh76/bvPt/urxez9ScLZ0n3ffbZp3O0aWxVQ/7s2bN7Zs2atcELDCGEEEIIIYQQQgghhBC2EtVGvcPaqjMjP4QQQgghhBBCCCGEEMKuwg5pzN9qhvz88DaEEEIIIYQQQgghhBDCTKKzVn7naPOpy+5sbXt4ZuSHEEIIIYQQQgghhBBC2Cmpa9ZPWLvefvfa9+PHnf0ZRwz5IYQQQgghhBBCCCGEEHZapjDmT4lwfX19jW0qBgYGemydw61ODPkhhBBCCCGEEEIIIYQQQhfTNfpvK2LIDyGEEEIIIYQQQgghhBCezYwx5seQH0IIIYQQQgghhBBCCCFMwkyZmR9DfgghhBBCCCGEEEIIIYQwg4khP4QQQgghhBBCCCGEEEKYwcSQH0IIIYQQQgghhBBCCCHMYGLIDyGEEEIIIYQQQgghhBBmMDHkhxBCCCGEEEIIIYQQQggzmBjyQwghhBBCCCGEEEIIIYQZTAz5IYQQQgghhBBCCCGEEMIMJob8SRgbGytbN93Ho6Ojnb11mco/hBBCCCGEEEIIIYQQQthU+tqtZ+3uOOX4pJNOKu6KFSt6Vq5c2TMyMtIzOjras2DBguLa+M2aNau4/f394/62vr6+3so555zzLmltL9ryNddff33zwAMPNENDQ81NN93UrFmzplm2bFkzZ86c5vbbb2+efPLJ5oknnmgef/zx5q677ipG+VtvvbX4LV++vPitWrWquffee5unnnqqbM7dcccdJeydd95Z/B599NESTjq77757015+pxQhhBBCCCGEEEIIIYQQtiXnnnvuRa0z1tPTYxb2uNtu3PGt4z/lcd16e3tHx1pal1PSqcejo6PruCMjI2N9fX1j/f39jpvVq1c3AwMDYytWrGj4teccN7NmzWqTaZrddtutuOzXE9klrMwM7dX4/thjjzVPP/10MeIzujPsM7rfcMMNxZjfVlCzcuXKYoCvhnnnxVm6dGkx6rc3uXnmmWfK+cHBwfFBADdduGuuuaZ55JFHnjWrP4QQQgghhBBCCCGEEELYWHYJQz7jPON73fbee+8yW37BggXNLbfcUo4POeSQYoivRnwG+j322KOEMxJiX3hhnJOO2fxGTczAnz17dpnlP3/+/Oboo48uXwFIJ4QQQgghhBBCCCGEEELYHCyfM+nSOmeffXZxly5d2rNs2bLewcHBnqGhoZ4DDzywuLY1a9b0zp8/37neOXPm9LZ+vcPDw2UbGBjo6+/v78PixYvvlNb2hIHezHzGd9hn4GeEZ6ivs+fbso8b6hnthWGUd+yczbF0avy5c+eWmf3O8RdWGPFDCCGEEEIIIYQQQgghbB9OPfXU94yNjY309vYOd7vtKW7Z7Hf8yz7Xcd1v3aEatq+vb3h0dHSkv79/BPy4joeHh7mjQ0NDxR0cHBwZGBgYnT179mh7PLZ8+fKxuXPnji5ZsmRszpw5o7NmzXI8Nn/+/GKcXrhwYXEXLVrEXWe5l11myvi8efPKbPn2hpXNukMM7Wbcm1Vf/Rni+QnvPD+z7YXhMvo73x2fK3z1NxOfXwghhBBCCCGEEEIIIYSwuWTtlxBCCCGEEEIIIYQQQghhBhNDfgghhBBCCCGEEEIIIYQwg4khP4QQQgghhBBCCCGEEEKYwcSQvwPix7ph2+HnxyGEEEIIIYQQQgghhLC92CUN+Q8//HDz+c9/vvnjP/7j5jd+4zea97znPc1nP/vZ5qGHHuqE2P6sXr26lPFLX/pSMzo62vFtmq9//evNa1/72ubP/uzP1vEPz8aAh/v1iU98onnmmWc6vpOzdOnS5pOf/GTzzW9+s+PTNGNjY82//uu/Nq9+9aubD3zgAx3fZ/PUU081F1xwQfNXf/VXzW/+5m82v/u7v9v8y7/8S3PjjTd2QoQQQgghhBBCCCGEEMKms0sZ8hlmv/jFLzbveMc7ml/5lV9p/u3f/q359re/Xdxf+7Vfa376p3+6+cIXvtAJ/SNGRkaaK6+8svne977XrFq1quO7dWF4ft/73tf89V//dTM8PNzxbZrvf//7zTXXXFMMzt3+2wJluvDCC5urr7663Mttheu86KKLyrVvzDWvWbOm+X//7/8Vw/rjjz/e8Z2ce+65p/m93/u95txzz+34rK13dX7dddcVOZmMSy65pPn5n//55hd+4Reav/u7v2u++tWvNosWLWp+53d+p8iZNB999NFO6BBCCCGEEEIIIYQQQth4dilDPmPs//pf/6t5+umni6H1Yx/7WJmJ/5GPfKTMzGdw/a3f+q3mW9/6VifGWhiEzYA329rM7W1BT09PM3v27LJ1w2DMOPxHf/RHzaxZszq+24YHHnigede73tX8zd/8zTY15Ps64dd//deb3//939/ogRT3b86cOeV+ro/e3t4Srvue9vf3N7/6q79aBgLe/e53d3x/BHn6r//1v5aBjbe+9a3N//k//6f58Ic/3Hzwgx9s/vAP/7DZb7/9mg996EPNf//v/7157LHHOrFCCCGEEEIIIYQQQghh49hlDPmWWamzrf/iL/6izMg/7bTTmuc85znNmWeeWQz5ltph5Beue110xt2+vr5i7B0YGOj4bh+OPvroMqDwyle+suOz7XDt7kG9F9sK97/mu60HL0455ZQy+PPCF76w47OW++67rxjrDSyQm/e///3N29/+9uZFL3pR84pXvKL55V/+5TJQ9IY3vKEY/H0ZEEIIIYQQQgghhBBCCJvCLmPIf/LJJ5tbbrmlGMKteT4Zb3nLW4oBltHWLHBcccUVzac//enmiSeeKDPzv/a1rzWf+9znmsWLF5fzuOuuu0qYO+64o+PzI8xctySMJXuUYSKWbzGj2xrsltGxLItlYMwGn4wHH3yw5G+5l8lYvnx5WXbHMi+28847b72zwa2zby33j370oyV/5XBt3UvYuBe+UpAWf18lKIOyKs9E7r///rKEkRnqyuCeLVu2rHP2R0jXOcv1KIdrEt6M/0ceeaSEce4zn/lMydfSPvK13XDDDeX81ub2228v19ldt+rUVxx33nlnWVbHNtkAzyGHHNL8+Z//eRks8uXHVHUWQgghhBBCCCGEEEII62OXMeSbzc04zhjM2D0ZlmGxfMtv//ZvN7vvvnvxM6vasWVl6rr1lnmxrn7l0ksvLUusXHzxxR2fH8FA/c///M9lxv9Eo7dyWLbl7LPPbv70T/+0+Yd/+Ifmf/7P/9n83M/9XHPzzTdPasxnDJb/l7/85Y7PjzDo8FM/9VPNf/pP/6kY0f/v//2/zTnnnFPS/+53v9sJ9SNWrlxZ8v3xH//xMrv8n/7pn8rXCv/hP/yH8gPguoyNn7ny9zNXXyowYJulbpmda6+9toSBrx6k8ba3va38c8AsdWUwOKIM1rnvRrry+cd//MeyHI18//f//t/lB7PV8C++ZZAY/S199Ad/8AdlqRpr0W8L3DfL63SX3cCI4wMOOKD52Z/92Y7v5Bx00EHl3wuuxw9xQwghhBBCCCGEEEIIYWPZZQz5DPMve9nLyszqP/mTPyk/N50OjNVmXx955JEljTprnuG+YtkXRveplpupgwjd67QzeputLW1fAFh6hXHasj4LFiwohnWG7olpSmOyvK6//vqyXJAlXxj6ldFmYIAB/H/8j//R/OAHP+iEXou85Xf66aeXtd0Zpz/xiU+U+8Swbn13s8/33HPP5m//9m/LIIZ15E888cTx/wtYlqgijmVmDIhwv/71r5cZ95YCMsPeNT300EOd0GuRnoEBxntL00iD8d5sdrz3ve8t5+bOndvsv//+5byvHxjHtwWT1a1Bndtuu60szcRQvyEstzN//vwyCOOrjhBCCCGEEEIIIYQQQtgYdhlDPmM6Y/ZZZ51Vlmr5yZ/8yTKz2xIwlsaZysB6zDHHNC996UuLIdbyKYy3DLOWS9kcrrzyylKOM844oxjx/92/+3fNCSec0LzxjW8sxvW99tqrWbJkyZSDA92YJW9JGsv/mNFu9r/BgVNPPbUMRBi4MCggXQMI4JrVb1a5AQVr7jNKuz9/+Zd/WWbHKwOsS/+85z2vpKk8e+yxRwn34he/uNlnn31KGLhH/H0N4Ke8xx13XHP88ceXGe1m5PvKwDJC3RiYMFvdlwN+KPymN72pedWrXjWe98knn9y85CUvKfXHmC9922GHHVbObw8MSrh/yjCdfyYsXLiwOfjgg8sAgK8gQgghhBBCCCGEEEIIYWPYZQz5OOKII8qMbkvlmAlu3Xqz2BmPf+mXfqksl1OXk+mG0dbMdHSvHb85WG/e+vg/8zM/Uwy93Zj5zxDOgG5png1x9913lyVgXv/615d1/ifyYz/2Y2UA4pJLLllnrXppKwMjfzdmvhsYULburwjqtbsXk5XLkkDWr++epV859thjizF+4ox8+auXycpdqYMP8q372xNLLLkv8+bN6/isH18oGIRYsWLFFpOfEEIIIYQQQgghhBDCrsMuZcjH3nvvXdZvNxvdMjJmi59yyinN5Zdf3rz73e9u/vN//s+T/sB1S8IgfdNNNzW77bZbmZE/GZav2W+//aZlyDfTnYFYetbrZ7Dv3i677LIyc9xXB3VJIcdm//txrfthtr6f3PrR7uaiLPKxZr+ldQye+PqAIX/i9Ti2lJBBix0FZVWH0zXKG6ywTVxeKYQQQgghhBBCCCGEEKbDLmfIr5j1bskWP221VvynPvWp5g1veEPz7W9/uyxFszVnTlsKx89bfRXQvTRNN8pnJjeD8YawBj4j+Ze+9KUyK/7nf/7n19n8kJUxH92z7w1a2Px0109n/SjXEji+UjAgMJ28u3n66afLgIBleX7iJ36ieec731nS+vu///syYMCQvTNQ68x9nw7uuS8h9t1331LnIYQQQgghhBBCCCGEsDHssob8bhhXrf/uR7bWlWfEvvXWWztnN5+Js7AZ3a01b5Y2o/5kWELGbPXpzOBmIJeWpXWsd2+t+YnbX/zFX5Sf1T73uc/txFq7pv0f/dEfldny1rVnyDdT/ytf+UrzH//jfyxLDU0XAxPSslnb35r/fnj7gQ98oPwU18+BlXFjBwc2B/fONp2vGoRRtuncb+vdWw7JD4YNgmwIP8a1rr7/BUx3OZ4QQgghhBBCCCGEEEKo7DKGfIZ5P7a1pM1U+ImrtdytZf7kk092fKcHI/BkRmrGaz847TYQM7xb4sd6/HfeeWfHd10efvjhMpN7uoZl+fhZrdnw73jHO5618TfbXtiJ+KGv8+9973uL0f1v//ZvSxnNpJ/ufWCsNgBgIMQAwB/+4R82P/3TP9287nWvKz8GNnihjNsSAzSWGzLIMNV9rjiv3i1ntCHc59NPP7254YYbytJF68M1u6e+rvCT3un8vDiEEEIIIYQQQgghhBC62WWsij/84Q+bc845pyybM9UM7ccee6zMsmbQn7jkDSP9VDPkhec/2SABA/d11133rGVlLOvDcHz++ed3fNblO9/5TlmvngF8Q5x88snFAH3hhRdOutyLsl9wwQXF8FyN6fIW3tcH3Zil//a3v7056qijyv2YbM1892GiQZrB3+x0Bu7DDjus4/sj3Jup7t90mGqgZH24d8pjmaSPf/zjU3798MQTTzSf//zny715+ctf3vGdGmvk/+RP/mQZKDDocccdd3TOPBvLNqlLPxt+7Wtf2/ENIYQQQgghhBBCCCGE6bPLGPJf85rXNCeddFL5AasldBhvKwzMZmT/7u/+bnPjjTeWmdNHH3105+xag7A1663zzhjOMNxtVDbj3CxtP3a1TA2DsTAGD8xMdzzRgP2mN72pGLzNXjeTvabHtU6/H/HWn6puiAMOOKDMujcIYQkdBviKa1Mmgxj+B2B2Oh566KHml3/5l5vf+Z3feZYh+qKLLmruvffekq513Stmt1t656677io/s2X4ruUzkGDzw1xpV+T/hS98ofxceFN/aFu/YLA8jUGRifd/ffgK4YQTTmi+8Y1vlGu97777xgczuL7U+K3f+q3me9/7Xql3XxBMh1e/+tXNz/zMz5QBiv/23/5b8/Wvf718eeF6le/+++8vSxr96Z/+abPnnns2v/mbv5lldUIIIYQQQgghhBBCCJuE6d4Tp0iX45NOOqm4K1as6Fm5cmXPyMhIz+joaM+CBQuKa+M3a9as4vb394/72/r6+nor55xzzruktT1hhD788MOLwZah3Ez4q6++uhwzmv/d3/1dMbxbK98SM90z8hmSGcDNamfkFtdM9TPPPLOcF5aR3+z2iy++uBiNGc8/+MEPNqecckpZT/32228vS83UpVvqrP9almuvvbYYhc0c/8d//Mey1I0fpDI2+1ltnZlvhr8lgpTzFa94RfEzSGCQ4u677y7nlPOWW25pLr/88rJGvVnhBiKsWW/pIDCMm5WvrN/61rdK3Guuuabci/e///3FGP17v/d7zfOf//wSHtKQruVkxPnqV7/aHHHEEc2hhx5ajNUM7Qza7oGBAEb9f/qnfyqG/OOOO674vfjFL27OOOOMkt4zzzxTrteyMwzuU/0I1v23zJB79d3vfrc577zzin/3ev9T0cprMeSra18gKLPy2//oRz/a/MM//EO59y94wQvKIMghhxzSibkW1+B+GgiybFDFPXcdjPdm3LtuAzL2P/nJT5Y6lIcBHsb8V77ylZ2YIYQQQgghhBBCCCGEbcW55557UeuM9fT0WKZl3G037vjW8Z/yuG69vb2jYy2tyynp1OPR0dF13JGRkbG+vr6x/v5+x8XGPDAwMMYuy4/N18TpOgGaDRuTrfyyyxjyceSRRzYve9nLyo9kGZ0Zxc3INoPd7HMzrM2gn2wdeT8qZZA301rcvfbaq8zeZtC1WcLFjGtp1XXlGePf/e53lxnva9asKT+AFa/CwGxZHOvhqxwGZQZrP5o1g57xmcH9rW9967gh34ABYzojMmN+Ze7cuWWWOMO1rwvMzvf1AKGwjI/BCTPOK7XMrsnseoMYNoMHDOR/8Ad/UL4a6EYcgxcGFx544IFyrQYQXENbzeUco7x7etVVV5XrUe7f/u3fLoZy98HSNeLAlwo/+MEPirHbvRR3KpSJILv/yrj//vtPaxkcqE+GeA+E+2dWvq8K1JN6N1Ci3g30TMTggzwZ4slANx4ygynPe97zykNoWSN1aYDCgM1P/MRPNO95z3vKsjohhBBCCCGEEEIIIYRtz85iyGesn9SQf/bZZxd36dKlPcuWLesdHBzsGRoa6jnwwAOLa1uzZk3v/PnzneudM2dOb+vXOzw8XLa2AH1tYdqy9PUtXrx4/X8a3Q4wmD/44IPFmOwGWeam3rD1YRCAwdYMdMbziTDYM3Az2E92fioYjM3uZljuNvZvCq6J8ZlraZz6FcBU1KVgCJLrauu4c2Zqnn766VJeXxW09dzxXYu18hn6CaIZ+xtzHzaEHwRL3wDH+gz/U6HMyiYdAy/qfVPSmQzLNal7D597OB15CiGEEEIIIYQQQgghbD1OPfXU94yNjY309vYOd7vtKW7Z7Hf8yz7Xcd1v3aEatq+vb3h0dHSkv79/BPy4joeHh7mjQ0NDxR0cHBwZGBgYnT179mh7PLZ8+fKxuXPnji5ZsmRszpw5o7NmzXI8Nn/+/LKO+MKFC4u7aNEibtmv7LKG/BBCCCGEEEIIIYQQQgg7NzuLIX+X+dltCCGEEEIIIYQQQgghhLAjEkN+CCGEEEIIIYQQQgghhDCDiSE/hBBCCCGEEEIIIYQQQpjBxJAfQgghhBBCCCGEEEIIIcxgYsgPIYQQQgghhBBCCCGEEGYwMeSHEEIIIYQQQgghhBBCCDOYGPJDCCGEEEIIIYQQQgghhBlMDPkhhBBCCCGEEEIIIYQQwgwmhvwQQgghhBBCCCGEEEIIYQYTQ34IIYQQQgghhBBCCCGEMIOJIT+EEEIIIYQQQgghhBBCmMHEkB9CCCGEEEIIIYQQQgghzGBiyA8hhBBCCCGEEEIIIYQQZjAx5IcQQgghhBBCCCGEEEIIM5gY8kMIIYQQQgghhBBCCCGEGUwM+SGEEEIIIYQQQgghhBDCDCaG/BBCCCGEEEIIIYQQQghhBhNDfgghhBBCCCGEEEIIIYQwg4khP4QQQgghhBBCCCGEEEKYwcSQH0IIIYQQQgghhBBCCCHMYGLIDyGEEEIIIYQQQgghhBBmMDHkhxBCCCGEEEIIIYQQQggzmBjyQwghhBBCCCGEEEIIIYQZTAz5IYQQQgghhBBCCCGEEMIMJob8EEIIIYQQQgghhBBCCGEG09duPWt3xynHJ510UnFXrFjRs3Llyp6RkZGe0dHRngULFhTXxm/WrFnF7e/vH/e39fX19VbOOeecd0kr7Jw8/fTTze2339489NBDzcMPP9zMmTOnmTt3bvPAAw80t956a/Pkk082q1evbubPn9/cddddzX333dc8+uijJdzs2bM7qTTN0NBQOf/II480rVyV88PDw01PT0/ZpqKVv2bZsmVNK4PNvffe2+y9996dM1MjXawvXUh7bGysacW44xN2BNp2q7n77ruLLKg/+22bVOSTnO22227NU089VWSUnJHfBx98sPiRU7LkWDxxHnvsseJ/zz33FPl94oknmnnz5hU5raxZs6bI75IlS8ZlW17yXR/CSK9tN8sztOeee3bOTI04ZHJD8jtdOQ8hhBBCCCFsHej5+hv3339/0ff1jQcHB4uffgY//QG6+x133FH6yvrEjz/+eOlv6GPom+iX6AOsXLmyhBNGf3XBggXj+r6+D3/9Yv2T3XffvfgJt6E+rXylU/Pp7qtPhnSVeUP9HUynXxRCCFuTc88996LWGWvbudFut92441vHf8rjurXt5GjbDo61LqekU4/bdn8dt22Dx9o2cKy/v99xeQ8MDAyMsV3x0z62x+M2JjYr3HTTTcXtJtbJsNkwov/gBz8oCgWFhPzecsstzXe+851m1apVzWWXXdbcfPPN5eV91VVXFcWCAfX8888vcSrXXnttUXL22GOPEp7icfXVV5ew/KUN6TiGQYTly5cXA6t8q7JBUanKEJwzoKA89m+44YbmzjvvLOeEEbamz33mmWfKgyWMsNILOw7q+vvf/36RE/VLjijJ1113XfPNb36zyBZFldwKu3jx4nKskXSenBiEsolvI6vCSYcyLRxZhHx++MMfFoVXg0v+5aEM0iU/NSz5qvJr4ICCTtEWt8qvsGSyyp3wjqVpX7k9F6hhu9P3XHBvvPHG5rbbbhvPL4QQQgghhLBtoadfeeWVzdKlS8t+7V/oc+gvMJzT3fkx6ui7VEM8PV8fhH4vLr2eEV9/WdgLLrig9E0qJhXpw+63336l3y1PfWV9benLR39YOrX/IB/9Enly9Umq0d2xfCr29Z8gfdclTQirHw39GNfnWPhLL710nb5/CCGETSOG/LBFMAP58MMPb44++ugyI4AB8QUveEFz/PHHN4cddliZZeAlbqbzSSed1Jx++unlxe5lX6kKhVnUZ5xxRlE0GE0ZQhnrGUfBdVyN7BQZSoG4VTkyYEChofRQTJTHjAeGWuWgEAkrD2lQbhhHlemaa64pWx0kEK4qJ2HHwWySSt2nkKp/dc3PRu58QXLWWWc1b33rW4tMmvHCsL7XXns1RxxxRHPkkUeW0VHxn//85xfZrgND3ZDBhQsXNqeeemqRO0Z6MkyG6sAR+ZUH5dtGfoUlY2TdfpVfLnkmj74OEF75q1wKe/311xf5pfArj2vj1x0u8htCCCGEEML2Q9/iwAMPbI466qjmoIMOag4++ODmxS9+cemH6B/rYxx66KHNS1/60tIHOfbYY0ufw+xM/RDn9En23XffYiQ/4IADSnxfDZtYV9G3gX63Ponw+iPC6DPrJ+hD6A/rH+vzMsbrexgEUE59GGH0X0xsEsdgg36FiVH1awB9DWnrd+g/6ecIW7/Uv+SSS0o4eUjTFkIIYfOIIT9sNl72RuYpAFdccUV5UYMS4eVPgbBfZxCYdXDeeec1+++/f1EsKqecckoxlDJaMrxbuoSyQ2FhcK3GyDp7gaJhQODkk08uioq0KRwUDMqE9IUVTlwzCyhAZkxTfKQrnv199tmnXAMDK8WIImUWA6OsAQoKVtjxqMZ6kEF1+7znPa8YzCmldaYJyA95UNfkiFyb9e6LkvpVhu3iiy8uX5uQC4ozhKVoO8+gbha8z1jJIDlDnfEijGfEQIABqxNPPLGUUf7CUIK54pLjqkh7Hij8BspqupR6z4jBL2nWZ09Z+JFf4Qy0hRBCCCGEELY9dfKQPq6Z6SbhdKN/UNF/rf0WiOtLcRN89KMZ4PUBzJ7/whe+UIzzBgcq+gYm15kEdPnll5e4+hCHHHJI6Z/oV0hf30Me+jvO6YsbQKh9EulaCoif/rN9cZ2Xh7T0ow1K6Hfoo9jXv9Ifdx2On/Oc55R+tbDKEUIIYfOIIT9sNhQAL/I3velNzZvf/OayxreXvdnwXtZe5NVAimOOOaa86G38QSEwS8A5M6MZWhnW+duqoRPVIEoB6Xa7Ed5GKaFYHHfccaWMZghQfsSxMZQyugrL2MmPUdYxav5hx4ICafCGEdxMEfVM/sgquWNAp9zWuuVSTM0cYQwnw5RPSvBb3vKW5swzzxw3+pMlsmIJKLIC6crrhBNOaF70oheVdAw2VfkhT9KDfKp8YaL8Cl9l0NcA5NZgldk4Pol1LTWOPM2kEd5AFf+JgxO2EEIIIYQQwvaBjm7TB/EFsP5EpZ7rptuPqx/zqle9qvS3GcX1h03Y8eU7o77+QkX/wGSj0047rYTV50F3n8C+NOpgwWTU/PUzpG9CHGM8w7wZ97UPXdM18Ynx3+Sj2tepfX1pyaumGUIIYdOJIT9sNtVIX42PXAZIhkezBrzUX/KSl5SXOgMoBYBh1Gd2dWkd8SgdZvWbkS+sNA0IUD4cM4Ca7WwmM+WE8lJnP4vPgClPCot49VM/5fGpIAOo/JWXMddPSykUlB+DBgy/zjGIVuWD0mJGP6Uk7Dj4woJR3ZqRNkquWezqn5yYRWLWepUHmGXv808z9p0nB2Tky1/+cvONb3yjyF+daUIJN5PGDBeQMXJi8IqxnZFf2uSUod0xWbeOPjkkVzby69NUZZAG1+CXMpJfg05kURh5eSacE7cq5VV+KeMT5Ve+ZtnUcoYQQgghhBC2LfR8ery+7he/+MXiVvRza38E9Hhh6fjo7qvol+j7Om/ikf6Mfm9dwhMM6/ocJrDpn+jXCKNfoT9ikpvz+jL6Ffoevgiuhnj52cRxThz9dOlyhXVeX8emn2ESnuvQn9bXkW5NB1z3QN8qhBDC5sHa86OpoWspx2effXZxly5d2rNs2bLetlHuGRoa6mlfBMW1rVmzpnf+/PnO9baNeG/r1zs8PFy29sXT1zbYbRve17d48eIfvVnCTgcDIiOnl301IFICGMn5V4O8EfhqTKeYUAoYHW0VhnfxGGIpABQGhnuKCsWAwZKSIL7zwlMM5MGt+SkTRYPhVfh6zLBay8JQytBp5rR0hTUQICyXsgH5S5Nf2LFQ5/BJKNkkf2SHzJGzOmuEv2P+5APOkSeyQhbIDlkR3rGZ++SiKtnCkUcu+RVGmuRc/uJWY3yVL0qvfc8EeSZ79uVL2Sb3jsm+ayGv4nc/F8ouXeWbTH7JuWuq5QwhhBBCCCFsO/QP9B30DezT1enu0Ffo7lOAfi+MTZzaV4G+iDRs9vVZ9A1qetC3la7JP7VvI//aD9LP0MfQf5aH8Poqwjr2JbFztb+tH2UAAPok8qtL5IrrvPR8Ye9abKjXCv0VfRplCiGE7cGpp576nrZdGunt7R3udttT3LLZ7/iXfa7jut+6QzVs20YOt+3hSNtetk30yAg/ruO2HeWODg0NFbdt/0baNni0bYNH2+Ox5cuXj7Vt5eiSJUvG2vZztG0rHY+1bXn5dGnhwoXFXbRoEXedz5liyA8hhBBCCCGEEEIIIYSwU7KzGPKztE4IIYQQQgghhBBCCCGEMIOJIT+EsEPg81BLzoQQQgghhBBCCCGEsKuRpXXCZjE2NlbW07NOXghbE+s/WpPxqKOOGl9rMYQQQgghhBBCCCFsPfyrw/8w6n83dkSyRn4M+aGlFdTys5y2zjs+IWwdyJgfKB1zzDHlx04hhBBCCCGEMFMw6Whu189eK370Wo1gIYSwIzI0NFTsMSZW7qjG/BjyY8gPIWxDKMZtu9IsWLCg4zM1luFp26MoyyGEEEIIIYRtAoP9Y4891hx33HHrfEFseVBfF6dvEkLYURkcHGQfLob8HXViZQz5MeSHEGYoZry07VDnKIQQQgghhBC2LitWrGiefvrp5uijjy4TkEIIYWdB22Ywcv78+R2fHY8Y8mPIDyGEEEIIIYQQQmiefPLJMlM1RvwQQph57CyG/N6OG0IIIYQQQgghhBA2gT322CNG/BBCCFuVGPJDCCGEEEIIIYQQQgghhBlMDPkhhBBCCCGEEEIIIYQQwgwmhvwQQgghhBBCCCGEEEIIYQYTQ34IIYQQQgghhBBCCCGEMIOJIT+EEEIIIYQQQgghhBBCmMHEkB9CCCGEEEIIIYQQQgghzGBiyA8hhBBCCCGEEEIIIYQQZjAx5IcQQgghhBBCCCGEEEIIM5gY8kMIIYQQQgghhBBCCCGEGUwM+WGHZHR0tFm+fHkzPDzcjI2NNY8//njZHxkZKecwNDRUNufh/Jo1a5onnniiWb16dfP00083K1asKOGffPLJ5plnnmlWrVq1zvmVK1eW89KpYezX9GpeYdeBPFW5IgM2kC3yRC4nkwuyCfGqTFZG1yaxQYQb2wyRG22LMLSqzXvd7EMIYZdCG61NntiO13f/U089VY670b7TNSAu/aAyPDjWPLNstE2v4zGB4TU/OrH66anDTQdt+Oqn0oiHtXJMdqteUmWaPkKO6a0TqXIsLH13oqyTzWcebfVeusIkjKxVgQsjQ2PN4BThpsPQ6rFm5fIfPQ8j7XMUNp8qE9zaZxkcHCztW+3j4LHHHiv7wtqvempF/ZCFqfTOddq1Zza/7siWvLpljGx068jd50IIIYRdlb5261m7O045Pumkk4rbKnw9bWelp32597QKY8+CBQuKa+M3a9as4vb394/72/r6+nor55xzzrukFcKW4vzzz28uvPDCsn/99dc3F110UfPII480V155ZbNkyZLmgAMOaP76r/+6ueqqq0qYVk6bv/mbv2nuvvvu5tprry2dnEWLFjX33HNPc//99zdf/vKXm1aGm09/+tPN0qVLSxoXXHBBc+utt5Y48vj6179e0vrqV7/a7Lbbbs1NN93U9PT0NHvttVfxD7sGBnM+//nPN0cffXTzla98pciITjF54P/oo48WuWjbwaZtL0sc8vOJT3yiGRgYaC655JLm8ssvb04++eSmbSebexcPNYv/bVXbeRlrlt420szbu7d0XHRmnnl0rLnl22uaBfv1lg7Vo3cOtx3dtQb5vv624/TUWOlI33npYDN7Xm/pVPFf+cRY8/i9w82SNr29D+tr1rQdrN6+nubOS9rO/dLRZt4+vSXuwJye5on7Rkq6c/bobe65YrCZv19fOdc30DSrlitIuYRm2R0j5eXQ29um/+RYM2tuezTx7RFCCDsAt912W2mztcH0iVtuuaV56KGHmrvuuqvoBoz0jFrz5s0r+gND1ze/+c3m3HPPbY477rjma1/7Wgn3ute9rqR3wV+taG65YE0zuGKsue27g2372DRrnh4rxq0bvramueOiNc2seT3N4/eMNPdfPVTa9wevG25m7dbT3H35UGmzL//oqmb3/XubB37IUtXTPHT9cHPD19cUQ+eeB/U1yx8YaQbadvcH7ftC2trsh28aLm2ytJ58eKRt55vmiftHm1VPjpZ2/KmHR5v7fjBYmvEn7h8p747H2jKsbtvwp5aMNo+08Ve3Ye0zkD350Gjz0A1ry7PHgboIYSZz5513Fj2XrvGlL32p6K533HFHkWd6LWN+2w0rcj53biuULeT4H//xH8v+X/7lX5Zz9JHKXa0+8Y0/fbroADd8dU3TN7vVOVrZYNB99M6R5qK/X9HstndP8/CNw82Kx9b6LX9wtOgoZPTRu0faeKvb46boIUNrmiJnj9w83Fz/5dXN4WfMapZ1dI5bW/1GOv2ze5pnWt1EWqtb2Sa/d3xvsJm7e0+z5NZW92h1Ded2PyAyOR3U/X777dd8//vfb773ve8VffQHP/hBc8UVVxRXf4fe+rGPfaxZvHhx88ADDzTvf//7S9u2cOHCkgbj+fl/+kyRB23JbReuaea2dbaq3V/5xGjbrq1udc+hVk56Sv0/eM1QifPAtUOtPtrT3HPlULPi8dFm8cdXNfP37W0ebP17e9v27oqh5qbz1zRjbdjdWl2UDkrvxU3nr27bp+Fm5eNrdU+yseTWoTKoRIct8nXXcHNfqzfv1sZ55Jbh5pm27Xq0bdMMpj7d7msvyeKc3TNXMYQQwrNpdfmLWmesp6fHMPW4227c8a3jP+Vx3Vo9a7TtJ4y1LqekU4/b9+86btu3GGv1rrH2Pey4DKYPDAyMmWTBj07GXqTvATZH6LNMJIb8sEPC+K6Tvffeezc33nhj86u/+qvNNddcUzriDz74YOmEP/zww2U2inBmJTGm7rnnns3+++/fHHTQQeW8TroHx4yVF73oRcXIr0Pj4fFg8efaWrluzjjjjGL8N2hACT7yyCNLGcKuA1m4+uqrm1NOOaXIC7ky2PNTP/VTzcUXX9y88IUvbA4++OAiW3PmzClxNMoM+GTxmGOOKZ2sV7/61eX8PW2nhmFnTtthve7La4oB5alHRpubvrGmuePiNc1DbUeGQYdx6JllY6UDvPgTq9rOylhz7RdWl47y7RcNlpb7qk+vLh0fnSGz5KR9/GtnN/e2Hao9Dupr7rl8sFmwsLd0im65YLB0xh5rO1GP3T1cDEM62jrmD7QdssfuGS1GKZ1ynSOdKeefXjba3Numq0OtzCGEsKNBV6AX7LPPPsWob+B+3333bV760pcWw9aZZ55ZdAUKNKPXWr18rSJNvzCRoFXom9e//vXFULr09uFiNG/182bV8tHmweuHmiW3DJfBUYb1wZVjzY1fX1Pa05WPjZU2trTpj442N39rsAzALm/b4oG5vc2VH1/VPNzGHxk2Q7lpBmY3zf4n9Bfj1m5795XBgeGhprTrjJvac8b5VW17zmD6+L2jzdNLR5rlbb6MqTZt+F3fH2yG2/1VT64tI+P9WFteVtJldww3d7fpGdxlNO1vXe+MMLOhi9oOPfTQoosw1NI3XvKSlzTXXXddc/rppxeDbh2QAnkm4/x333338hXhaaedVvyxopXJJbcNl0Efgz/DawwUDTU3f3NN81irbxgEYly/67K1OsnSNuxt31lT5P/O1o/+4usU+sEtrf/dlw01D90w3Cx8Tn/RT+gk5HH+fr3lWNd5cEXTzJ5PDlu5fWCk6TFhoNVFHmtl2XNEXsfa8ux79NoyhvXDWP+c5zyn9FcY6b/73e82P/7jP176R2RBP2f27NnFWPDDH/6w9IfIh4lJxx9/fEljZHhtu0LHNFiofh+/d6QMHjLED7V1tvzBVg4uHWyWtvKw+qnR5pZvrSltm3ZNe2fwctltI83s3Xubyz60stU11874l9beR/Y3ex3cV3Rehn466F2XDjWr2nQMLj7etl8mjAyWD596ykDBijasQaU1rW5KhrRbz7Ry0te/duDTQKmBgENOGSiDniGEEMJEdhZDfoarww6JmUVmjZiBT+AZVHWujzjiiGb+/PnNzTffXJTYOrPkhhtuaJ773OeWjreOO5eR3qemjoU95JBDSloM8x4s5w0E6Og43mOPPcrDxH3Zy15WZkEJH3YtNK6WYNJJJiM60GbnkweyxxjkU/W6BAPM8vQ5sy9ByCK5kQZ0YLw7zEbb58i+ZrTtPN349dXNqrbDwgCjczv4jI4xg83az911YIZXjxXjEKPN/sf1l5mUS24dLjPu9z68r3nOy2aXTpTOuA5Z+0ophpnDTp3VPPHA2rBm6kunf1abR5uuGXjSfLLtiPf2jzX7tOnokD10w2CZdcXC82TbAVOWnh7vqRBC2PEwg9mEgNtvv72830888cRiyDSb2YA/PYDRS5tdMftZPO39W97ylubwww8vA/zQ1s7bu6c55PkDpR3f98j+0lYfdvqsZu6ePc2BJ/Q3z3nprObIMweag57b3xx22kBz+OkDzbGvml3OmT168PNmFYPlwmP6m4Vtm37kWQPN0W2cgTZts+UZrxg4R9as/RJLu7/fc/qbfY7qaw45pb858KQ2Xht370N7y7n9j+8v7449Duxt5i/sbQ5o81l4XF+z/7F9zX5tuOHVo2VgV1rS3+ew/mIoPeDE/rXvjDDjMRnAkij0CoZZM6r5GZwixzZfCZqZX6Ef03uPOuqookv7gtUzUDEDf95evc1eh/Y1R5w5q9nrkL4yS/7AkweK4XXPg3tb/4Hm0FMHiowe8oKBVs4HmqNeMqs55uWzij5x1Itnrf1qZEFvkcujzprVHH7GQLNvK6tkqywvNTLWymtfc8Lr5zT7HLE2P5tJAvSSvVt5lNe+R/eV52HhsTHiTxc6pnr2hbE+jIFJMqJPQ0dlZzABxRel2r43v/nNxf+www7rpMB03tPM3o2O2te2TQPNfu39363VVy1/pH5nzWuKwVw7Rg7Us/bq0FbHPOYVs5sD2vZntz3btqmVjycfHGkOPHGg1OPRrZw85xWz2tRb/XOwbdc6S/JoLxe2bdOhbZrz9uxtZaKvmdvKIWP+ngf1tnLRW9o7MrJHKxcGgui0R790djMwtyl6r/S1weQ3hBBC2JkxXD1xyLocn3322cVtlYCeZcuW9Q4ODvYMDQ31HHjggcW1tR2c3vnz5zvX2yqOva1fb6sklG1gYKCv7RS1ukRf3+LFi++UVghbCgqoGfhmEem8XHbZZc3zn//80imhqFr+hFGVqyNjtIu/mUc65zowOjI67j5FZvA3+84nqIywZlRTaMVr5b+kSyk2g6nOWHHM+E9JDrsWOsk6Rb7iYMwnF4w8ZsaZdf+85z2vdIrqaCqjPdkjc2aB6mTVLzl0XsyM11kaWjPa9PT2lJnwZrNxe9u+q1mSjDg6ND4vXrNitMyY1NllYDeDUufYcg060Yw9fbPbcE+Nls/XzXCat3vbARtu/QfWrntqGZ5Z83pLh1q6DP4GEWbP720GV422efaWZRqEZejhL4wlgBh9Zu+2Np8QQtjRYMiyxJkB1rPOOqsMvGqTGffNYPXO99WV97v2Gtp27X390qob82+0x2aBai+101xLhpQlz9p22Vwfyz/w02Zr++t58co60K2/dnjtwOlahVzbLj3tr/ZbePl5L3hHlJmnAoreuvKQl/2mfZ+w0QqvPGaueqfYF6a3zcdMZ3nIs9hz23iMdaXMYUZDjs2up6eafU/PJZ/kmK5LPz711FPLABR9F91yTMelp3Qb8mFgn15ApyA7jO5VVugAZKPKLz2AzJkgIzAdpsqY+L2tzDlVBqE8G+3xKFmUXptXJ9q4W54X8o/WKc9V50uRKudh/dA3LTmqr6MN08chE/RPcmHykq9DDUSSEfVPFia2bWUiSFtX7j+9Tx2W+m/rRz3RN4vu2MoHmVBHJoMITya45d9ObVpkaLxda7ciC6Vd68hCRwZAbtbmtbYMvlgSr4bhB7JhebLSnrUBpFXb1xBCCGEyWr3oPa3+NNK++4a73fYUt2z2O/5ln+u47rfuUA3b9hOG2/fpSKtntSrWyAg/ruNWL+OOtnpXcQcHB0cGBgZG23fvaHs81r6vx9o+x+iSJUvG2nfwaKuTOR6bP3++F5v3d3EXLVrELfsVr7qJr7tyHEN+CCGEEEIIIYQQQgghhB2ZncWQv+4UjBBCCCGEEEIIIYQQQgghzChiyA8hhBBCCCGEEEIIIYQQZjAx5IcQQgghhBBCCCGEEEIIM5gY8kMIIYQQQgghhBBCCCGEGUwM+SGEEEIIIYQQQgghhBDCDCaG/BBCCCGEEEIIIYQQQghhBhNDfgghhBBCCCGEEEIIIYQwg4khP4QQQgghhBBCCCGEEEKYwcSQH0IIIYQQQgghhBBCCCHMYGLIDzskjzzySLN06dLO0VpWr17d3HPPPc3g4GDHJ4QtDzm78847m5tvvrlsN91007NkcXszNjbWPPDAA80zzzzT8QkhhDCRp59+urn//vtLm4nR0dHmtttua5588slyvCVYtmxZ84UvfKG8O0LYkjz22GNFB7nlllua22+/vbiOn3rqqea+++5rvv71rzfDw8NFBreVniLvz33uc+XZCtsHfaTHH3+8czRzueSSS5of/OAHnaMQQgghTJcY8sMOic7Ju971rvHON/j99//+3zeps3zNNdc0n/nMZzpHIUyNTvLP/dzPNb/927/dvOc972l+7/d+r/n2t7/dObt5fOhDH2ruuuuuztGms2bNmubd7353c9lll3V8QgghTIQh6X/8j/8xPgHgn/7pn5rf+I3fKMbILQUD6je/+c1m1apVHZ8Qtgzk9w//8A+b//W//lfzkz/5k0Uv+f3f//3mhz/8YfPggw82F154YTM0NNT84z/+Y/P3f//3nVhbF4Ng559//hYdDAvTR7/ofe97X/OJT3yi4zNzMMGELFYuv/zy5rrrruschRBCCGG69LVbz9rdccrxSSedVNwVK1b0rFy5smdkZKRndHS0Z8GCBcW18Zs1a1Zx+/v7x/1tfX19vZVzzjnnXdIKYUsxb968oqS++MUvbvbdd9+iuFIOjz766Ob1r389uW2+//3vN3fffXez9957N3PmzCmdaEbYVl6bK6+8soTZf//9y6yhD37wg803vvGN5phjjmkOOuigpqenp8xuWrx4cRkYWLhwYcnXjH+zXG699damfS6affbZp/iHXQezN8nPX//1XzfvfOc7mx//8R9vTj755KZtA5snnniidEx0oB9++OGmbS+bti0scmd2vA7LIYccUoxGV1xxRZk9N3fu3BLO7H4DAzjssMOa3XffvciY9O64445mzz33LGG70VGWBvkks8LJR3qf/exnmxe84AXNc57znOL/0EMPlXA69eRamTxHwpqxJx3luvrqq4vhybPRNt+dnEIIYeejvud/5md+pvn85z/f/Mu//Evzl3/5l82xxx5bzvv6ynnt6gEHHFD8tO3aSLNer7/++qKDPProo6Wt1g7vtddeJVxFO6s9PfLII8v7oJt77723vAvoMMuXLy+DsNpk+op8vRdaPbvZY489SvvsuNWxyzvIbGxlkifoO/yhPHSd3XbbrRyHnRMy9Za3vKU58cQTy8zmP/uzPysTDfjPnz+/6Bv0iQsuuKDI2Jlnntlce+21zYEHHljkxoAVXYAMk02TWmz2qxzTDejBN9xwQ5HX/fbbrxkYGCh6DjnzPBg4qPoEeRXm+OOPL/pyDUe3qLIMeocy+wJGXPJLz6FLhU1HPZvY5D6fddZZHd+1OKfNUl/amtq3gXpQH7Nnzy5fc+g32dSTdqVbZ+xGuyRNMkJ2tHU1rLS0U9pR5fGlhv7WCSecUPpa+lB0VPWubZOWsi1ZsqSkU9tL7a2JKd3+0tUnc4578MEHl7AhhBDC+jj33HMvap2xVg8a7XbbjTu+dfynPK5bb2/vaPt+HWtdTkmnHrc6+zpuq5uPte+wsVbXcVzena1ONcYuyc/7jY5FX0LV471XJxJDftghofRR6nSuX/SiF5UO9f/5P/+nzEqieP7mb/5m6QTreJx33nnNy172stKhYHjVWaAo/uu//mtz+OGHl7R03n16rAPx8pe/vMwm+tM//dOiIPokniL7/Oc/v/mHf/iHko+HSUeFMhp2LXRKv/e97zVvfetbS8dEg6uzYqaRmZw33nhjmaG/aNGi0sHWnv/sz/5skUedYLKosy2M46985SvN6aefXow53/3ud0uDbkBJx/p3fud3Sl4GjnTMzjjjjGLgr+g0kfn/8B/+Q2n0pavDJA8dJs+GF4PnwSCXjVx/+ctfLh2fL37xi81zn/vc0jH7L//lv5TBL512z4YXyCmnnNLJKYQQdj4Y8g2walf/3//7f80f/dEflXYW9ACDqwZBv/SlLxUdQlut/fyTP/mTcf+LLrqoGLIuvvji5pOf/GTRIbqN+drv//k//2cZ9GXcqjBs+rKQ0Uxb/s///M/lndLq3yVf+XvffOpTn2pe+MIXloFV7bR3jPAf+chHyuDu8573vNJ2e/8YaL7qqquKTsPgxcAbdl7orPQPE1IY69/+9rePGzrpDnTWt73tbWWfH1lp+2RFjhlxP/7xjxeZ/bEf+7HyRSAZZJinvzC00pHJ7le/+tWiW/zbv/1b0YvpGCYL/MVf/EWROfoMXfkNb3hDGRz4pV/6paKX+GLgd3/3d0sYz4k4r3jFK8rz9jd/8zfFqEt/F5+cv/nNby4DEGHToXOamGQSEx2wm4997GOlnTPpxP3WHunHCK+etDd01b/7u78rccmAtk6bp53y5TIZ0v+pGKT56Z/+6dLu0CsNFv3Kr/xKSffQQw8teu373ve+5t/9u39X5E0Yg4zkwKAp4zx5/OVf/uXm0ksvLTqotg3aPRNRtG3iaWMNRL3qVa8qfcBf+7VfK+2hgc+XvvSlJU4IIYSwPnYWQ36mW4YdEp2XV7/61WUGHIWQckdhNIuOcdJME58RU1g9JDoYHgoG+f/8n/9z6eRSBCmnZibpcDBoUmQ9UOLp7DDa//qv/3rz6U9/usx+bh/g5ogjjihK5r//9/++U5qwK6GB1ZHVsfiP//E/lk0HQ6eIQdzSDGYYaYDNbiJ/ZsH/t//234pcmXFEbs8+++xyrCOiM6UjpNPMUKODYykGhiIdcZv0dIK7IY+ehYqy2cBfh0cn7Bd+4RdKJ0onqXbS3v/+9zfHHXdc6cR75yijgQfl/9Vf/dVioPK8hBDCzor2WfttQJTRioESJgkwamqXtYkMltpKhi5tK2Mjo792lEH+F3/xF4uRioFr4prP2mn5cLtpOxLF+PThD3+4+a3f+q3iV8P4spCRU/vt/cAYRofpPucrAgZQ+o7BV+8Nuo20+Mkz7Bq0HcR1XFS5q3ifM/IzxDL6gy7yute9rug09AvyRu+lC5BLckTHPu2004q+8ud//udFN+l0OEsH873vfW+RP5D9bj1EGcitgSlGZAZ8egjDvi9g/vZv/7boNy95yUtK2Sc+I2HLQc8zSPh//+//LYZ1dWqiE91P/f3ET/xEafPoqvzUG+O8Ov2rv/qr0tb5yvMDH/hAJ8W1kDF67X/9r/+1yAg9WP3XunTescHNn//5ny8y+L//9/8ug5DKVGWUfL72ta8t7a1lUk1eIRPaOuWWtnIYxFSmaugwIKT9DiGEEHYlouWHHZbXvOY1xdBpthtDvg4xxc6IlZnOFDtr35odpCMCnY76+aXZSNVQSZms+LzdJ5tmJDFo6pxTQKVDMfXJcrfxNOxa6FiY6WQm5R/8wR+U9WjJEmOQ2UM6p0cddVSZfenLD+F1bAw0wUx7BpiPfvSjzTve8Y4yG9RXJN0yCF+O6FwzyjD2mw1aDTkT6e4wVVcH3Aw7M690jmCmnWdGZ12aZtjpYAnLWFTLyNUxm1imEELYmdB2ms38n/7TfyptJWM9tLeOq2HfV1LacW0yLGnjWLvJOOnLPm0plxFsQ3gvyKN+9WRCgaVI6CraXe20mdC+yjJ4wM/GcGWgGJZNgUkGBh5OPfXUctydVgiV+j6nD/iCxFIm5MwseLqBmfF1cgFjO33ZxBYyZ5KBZ4X+THbrZtkeg1qMsp4JywFWfQTCiONZoefQlaRJ9sUxmQBmZE+mB4Uti5nrBk9MUKrGcH7auroMjwlRdcku/2xSVwZw9IfIjHrqRh2TFZOcupmol2Kq+uUv3aqDkhn9M3qo/pwBBTq3QSNtrvZOHOWkU4cQQgi7GjHkhx0WszoonmYXm93zpje9qfgzsuocmAHEYMnQ6tPi2rmmdIISWBXNbuVS54JCydhqGRI/EvPjUJ1jHeMaP+yakBUdW4YScsbVsSB3lkIwkOSzcp8hk9FKlRtyaHa82ZjkikHfrCiyKEydyWaJBZ1nclzl0Ofv3egg1c4OfOKMKs8+bzaoYDYpPx1us059eSJNP+o1W9/AlPO1jNzuzngIIeyMeKcz0jNeMhT5kk8brv2lBxighYF8xiMGSW1lbWMnc6fTdmq7vTcMpoIhjcFKnpaK8M8fM1y13ZaoqJMO0N1Oy48RzfIqlgmCtJS724AWQsWXG4yzdA+y7ysS8kOHYeClG9ARPBNkqw4uYaJu0C33U8l+PVf3YfCLAdlAAuo/eqJ3bDmqLllR5wYGfYHBMM+lj6p7umH9bF+dVF3SwCQ91oSS2p+i305GbZe0O+rSgA3q4CfWJyeo8lHTcg3aXAOq8v/jP/7jorf6mkDZha9hQwghhF2JaPlhh4UiaHkdRlAdEet/w5I3DPs+47V0DqVPB5lyWRU/6BjXzrHZH3705LN0HXjrn1s+R9oGCnzaCR2azHLbtSE/5MjWjU6RJRbq0kxmLhlA0skgZ1XuGFmsBepTZmt/GhSo64368Re5NUv/jW98Ywmrs/21r32tdKB0drsxA8rAkzXwGXzkSc7lZTOzylcDltMx09TPoX1dwkhEtus5hvzuMnK7DUchhLAzUg2Tvkqy3J5BVkZMbaCZyn5qbokRfpaVMLjKSFXbR+Em6hUTDUs1zEQsM0FH0bZb6sKXAWDgVyb/+LGsny+7qlG+u52Wj3QZ/33dZVlBbbp3Af8YRXcdyES3bKDqHujWXem4ZsDTCegZYND3dYiBrPqPKHoHuROvynS3LPPr1oer7E8MU8sA+54fM/kNKNSBg5pX2HJ85zvfKbPvtS30Svee/ucrZssjfetb3yr1w5BvqUdfcDKUW6pGHapbSx45b8kdcmFCieWYuqn1XWWvfmkhb2n5D1RF/nRk/trcbhmq8gNpOeb+1E/9VHPhhReW9o3MmtxiEEj71i1bIYQQwq5EfnYbdmjMFDGLiMHUTGMwhvrEXCfYTBA/uKWMUgjNOnGO8bQVzWII1YHxOacZQmahOO8nT8IzqPp8/f/7//6/cl4cS+tM/IQ07DroPJil5J8KOjgVnRGdFDOIdFStoW8JhLY9LIYZnWQdHDJovU+zn3zObka82UbSFcZsKHItfT8N8wm8cD/5kz9ZDE1ksGK2nPVuxWG096M58kxmlcPXAjrMZnR6FnTeGfMNIBjc8hWLQSthfWJ98sknl06+sniOlCHGoBDCzor21NIM2mT7jPWMRNo/g7Pabm2wn8aasV+N7PQNbS60w+J5H2hLtbeWEKkIr131w/zu5dHoEdpkuoZJCdpkS0XYp5P4AbovAZVDWy5PRnvtsjyV17tCOWzeH/KydApjHb/87HbXQL2buUw2yEj1I9tkgFya7EJ/Bbkhf2SLXkIufeG6bNmyMqmFXPpJ/0SZliYdhryLYxJMXerJsXAmJnhOqq4tHvkVV1rkUjw/lebSm+Tt56WWJJR+2DzUhbqjf2pf1If7bflHA4P0Vfqf+qIzcqu+RydkOH/lK19Zvui0bKkldiz3SMdUR+qxIo70yUSVPTPmfcGk/g0S0EO1sdpVbZu0lEc88kNnNaGEDkq/lqa+nTjOG0A1Ucb16I8pF8habbtDCCGE6bCz/OyWhWZSQ3774i3u0qVLe1rFrndwcLBnaGiop+1UFNe2Zs2a3lbhcq63fXn3tn69w8PDZWsL0NcWpi1LX9/ixYvXfjscQgghhBDCLo6vovys1g91LYVTf+bIALqxmK1qXXMTFyyxIy0/jWSgC2GmYS19PzxlwDVxxlcvOrF+xNo9QSJsG8x0t6SXCSPWozeD3yz8TFoKIYSws9Hq2e8ZGxsb6e3tHe5221Pcstnv+Jd9ruO637pDNWxfX9/w6OjoSH9//wj4cR0PDw9zR4eGhoo7ODg4MjAwMNrqOqPt8djy5cvH5s6dO7pkyZKxOXPmjM6aNcvx2Pz588tnbgsXLizuokWLuGW/kiHsEEIIIYQQtiEMmGZIM5iZjWz5nk0x4sOsWbNeLQN45ZVXluUnYsQPMxVfAZj5bWb2P/zDP5RZ++Q/Rvztg2WOzIC37KIlHP/sz/4sRvwQQghhBpMZ+SGEEEIIIWwHWp25LCuxJdiSaYWwLYjMzhxSFyGEEHZ2MiM/hBBCCCGEsMm0inxnb/PZkmmFsC2IzM4cUhchhBDCjkEM+SGEEEIIIYQQQgghhBDCDCaG/BBCCCGEEEIIIYQQQghhBhNDfgghhBBCCCGEEEIIIYQwg4khP+wSjIyMNENDQ52jEHY8xsbGmsHBweLujNTrCyGEEEIIYUcj/c0QQgjbghjyww7Jvffe2zzzzDPNypUrm7vuuqvj+2xuuOGG5oc//GFzySWXNJ/4xCea0dHR5qmnnipK1tNPP90J9SNWrFjRrFmzpnP0I8S78847m5tuuqnkORkPP/xw8+ijj3aONh1luP/++8v+PffcU8rJ77bbbiv5r169uvnmN7/ZfPvb347hcztAPr71rW9t1P0nc2RoMpYvX97ZWz/SeN/73tcsXbq04/Nsrr/++mZ42I/Utz3uhWdyQ7iOyQYjHnzwwebv//7v13t9IYSwJdEeffWrXy1tuv1utGe1jX/88cdLmKna11tuuaW0v9M14KxatapskyHfbWkIYniaeO2V++67b1JdCe7FVOcmg360ZMmSsu8a3bNbb721HIdN48knn2zOP//85oorrtikQX56yXR0EPKxId3i5ptv3ih52BToxq55c6HH0asn4+677y569mTwn6oPMJPQX/GMqV/PmfZLW6Z+PO8T4b+l2pzpyEp327Fs2bLS16koR3e/jlxtDORjsmdBuR544IHO0bNxflMnytxxxx3jMqN/9tnPfnaT0wohhBCmQ1+79azdHaccn3TSScVtFZ2eVmnpaV/8Pa1C0LNgwYLi2vjNmjWruP39/eP+tr6+vt7KOeec8y5phbCl+MIXvtDstttuRaH+zne+07Ry2VxzzTXN3Llzm+uuu64o6HvttVfz3ve+tzn44IOLYkipomh9/OMfbx577LES76yzzippXHrppcX9+te/XhTKgYGBppXpYlx84oknmgsvvLC5/PLLS/rz5s0rgwM6AhS/H/zgB0Uh1SFlhLRRTIW97LLLxg2cixcvbvbYY4+mfWZK2Dlz5hRlVVgDDvvtt19RWBkLKJvPe97zmi9+8YsljjS+8pWvlOv8/ve/XxRxyqoOxwknnFD2lZFyrOzf+973ysCCezB79uzOXQubCxn6zGc+U+qDjKkvdaH+nGOkuPrqq0vniczpXKuTD3/4w0Vu1LUOFtkiN4wkH/vYx5oXvOAFRV7IMGPQQQcdVNK88cYbi5yRDfVpAOuII44oMipc27yWjm01IJFXsqZcOm7z589vLr744uaRRx5p9t5776Ztl0u+0iGzZIUMKZsyk1ederLpmXBNnhXy7tpuv/32IlMGlezvueee5XoZaKQrr8MPP7xct2t0fbWD47ns6ekpxvpDDjmkpCPutddeW55l+ZL75zznOc3uu+/eueMhhLD10MYalNVuXXTRRc1RRx1V3vXawy9/+cul3T3++OObT3/60yXswoULS3ur/dKWa7+0uV/72tdKu6ntuvLKK5uHHnqovK+vuuqq0oYeeOCB5b3hnPeAPLR/+++/f9mvbbHtS1/60rix0DtBO6599c6Rv/ZfW63dtC+Md4E2WjjvAu8M+WnHlWXfffct+WiPlUub73roIt4Pn/rUp0oYbbT3iPeWdp+uRYfSlvOHttyx/MQ79thjS77eVfQl57nyoYsoh7RdL/1G+VwLncV7z/2RnnzkH6YPfcS9Vv/khGx6l1b9Q92SU3qg97Q68N72/uZPf6CDPP/5zy+y6V1NryVTngEyQDY/9KEPlfzoH+q9yiz5I7Pe6eKQO3nRd+kh9AD6hvzovtKTL3kQXhjhPTfKQl7JjWtSHnoMfcigF93385//fHlmPJfy7n6uyDK59TySReVkxHbdnhvX457wlzd9xT2TvzK6dpN+yCVZdC/50ZVcD5lVBmkceuihZd89UG7y7/qU073xbEp7e/HJT36y1MU+++xTnnP9Hff9u9/9btFZ1aN7o82izy1atKjU+zHHHFPaC9fg2awyo70Q3mQi909boA10D9wX8ieO+/+v//qvRdesel/tM6kX91kfSd1pU88888zy/MtHXQuvPvTTtIH6P+eee25JVx7qkIwoN5ly78kHOScDZIG+rezKRYet+X3jG98obW8tD9f12KT7gQ98oMiWa3OvpOs50oa7R+6LfJTJdbs+1ylf7eCpp546Xi7yp10k/yGEEGYW7XvlotYZa3VOsyzH3Xbjjm8d/ymP69a+n0bb981Y63JKOvW4fb+s47bv4LH23THWvh8cl3dJq0uMeWfx816hW9ApQJ+Ad9VEYsgPOySUah1oyhYIPOWOAkWZP/3004uyRbF8xSteUZQ9CqKHg6Kt066jQImk0Os4U9ooslVhpfib6SSfI488siignk15Uwo9UMJR1inK4tqn6DEIUBjFpUwzFNQOiQ4MAz3FVd46DhRZ5ZOHfJWRcbfmTTmUh7QZ7X/xF3+xGBzEPe2000rnpnaSXDOjrY6+MPbDloFSr5P3Uz/1U81xxx1XOkU6OTpFDBbqSx2TRXJITg444IBioFYX5NBsHbKh80vxZ7B/9atfXTqm5E3niDyqa403eTPgRNZ0SHQqdH6PPvrokr8OpDx0SnV8yKWOEH8yo/51OpRRejodF1xwQZEjMqnMZM2gko6VtFwLg4/4OjBV7hlZyCzZUl7XJV+dxbbdL50X6blu16WcnifXrPMnjhfWGWecUTplH/nIR8p9YdzxvMrTNSpPCCFsbbRJ2rW3ve1tpW3XzmmftbPeuwx63sHaQUYehiJhtPuMz9pXbSDjo3e6NlMbrv3VFmrntZknnnhi0TkYfLR13vHaY4Ye6QlPf2FIkz/DJj1BHP6Mhy996UtL2+7rQgZM7T+94bDDDis6hrz526fbiEOn0PZ6Byh7Nca7LsZZ7zTlYPxVJveCHqE8yqZjoTzVAOu95j1TZ8wyCiqfzbuH8VPZ3T/3SH5cbb623XtN2++e0Ntcn7RdN2Nw2DjcSwZGhkvvYzqh96i6YoBWH+CSU7qmc+SBzuj9rE7or1W3UJfe+eRH2mSfnJx88snlGWBY9dyQEefoFmSQoZTxUnpkE3QBcaveQx4ZdMkteSBzykSfYbylf9AH6A9k2T4dXnrC18EiegydSBhyRHfhkkEyp9zKL4xNGckqYy19xfU5Vh7XJH33RN9AfOWuMs2FaxXHc0Gm6XPk2Pmqq9lcv+fEM+h52h4oHx1VW6Q/Qu9yb91rA5P0VPfMfTGBiaGcLub6+bt+bQ1dVLtW+yfaCWmoH9ftnjjnntX6cO/dD/Kg7XEP3St15x6LJz/38sUvfnE5p4xkSjta2yrtrvonI8qsfda2kR9tK3klk9oy5ZS/upQeP3Vh0MokKGnri6kb+rlrEl759Qtdm/KQC7KgjOLq033uc58r1y2OetXOesbkrx0URp6uxfPonOfQM+GehxBCmFnsLIb8LK0Tdkgo0q961aua1772taWjSanUobZPEaVAeTgosTozlFIdFoqph4Mi7zwonpREBnAdd+c9VJRTcT2PlEvokFAwGeNPOumkkqbNQ0cxpeRRcnWq5GF2sc7TC1/4whKP4idf+VFIKdquReeHwkfp98CubQOa8hArB4VUGcTVSab0SpdBQBzl4u88ZVS82gCELQfZUA8M3erAvo0iz5CtLhzb96UEOWCkIIc6EhR89aRjos7Vv3qqdUgWxO806kVenQPjufTEJW/SkY/4DP1c58BoIk9p8pdW7azocJExM/DIoHBkmEz7CsRzoMNdnwvlcS06ecrsGZOmfZ1vg2Y6jcoiD/KnE8Uw45mUBn9hxZGea7JJhwwzIrhPyuHaQwhhW8EI4x2rndQGM/hoC7sHwbWT2k3vcO/2jsJd2jDvXe9/7S34Vz2CMYixiW6hzTZ4y8AojjZQeto9+oGw9ArpS8957ab2lOGtGiO1tdpN+9rWie8fOFYe+XqP2FcmW21/X/SiF5XBCAYq1yYcHcb9EF+5XJ/rcF7Z5MVVFudsyu6eGazwjjK5wDVo1xnWhJe28nKFYdRzzBXWeyJsPAbk3V8GeIZJ99L7mnzUdzQ9Q33aHHs3q3sGfUZx9UE+alxyqC7JCtmTPj8yQzeVDv2gGorFATlwDp4Bssf4rlzie2boxOKpd7Jbn5+armeE7MM56YBflUdx7SuX63TODHnPmefEtciTTJFb10Julcd101fInrRcE6MwvZ2fcPyqnu/alKm2B9KDssrLvXRtdHzXIG9l4S+d7YVyMEZXA7V68uzVeoT75toZxl2besApp5xSrpMxWh3VgRrPsuty36VH3+S6v+4P+dGO1jokP8Lr20hDGyFd9eK41m293461X+pXWey7DvfaPtc5A35kSD70WKgnMkGPJBPy1q4ZwHL90pa3fKTtOVB/yiYN11nzq7LlnrgOsi68a3S9BjKde+5zn1vSkq749un5Bgf4SSuEEELYWmRGftghoaTV2eYUUy7li2LFkE9hpBxS3ihglD9Km5m+/ChmlG5hKVsMl5RXCqlOq5kgOjiMlDpDBgIodtLip0NCAdRRNeOEIqiDLg8KnfiUeQoyfx0l5WFgVV4dBJ0IgxGOpWO2HT8dMwqjmfkUVp0tZX3Tm95UFM2Xv/zlpZOCN7zhDaVzIl+DGToyOhSUc+VSVumHLYM6JHc6SG0717z+9a8vHZe2mSt1656buWNmjjomS4zsZIVc6ASQTXKqgyyMjoJ6JS/klCy+4x3vKJ0Qhn8yoR7JPMio/KUnbeUhzzoO5Nkm7dphIiuM92aH6YjphCiPZ6EaWciI50D5yRC51LElfzrewglDJuVH3nSIdKZcr+eC8cb1KqtnRzidP+dcZ5Vr6biPrtnMK52sN77xjaUT6Frlr3whhLC1oQ8wNmqH3/zmN5e22bH2WNuofdOmam+1Y4xHDGLae20yw7f27JWvfGVp7xiUGHLoDO985zvLu1sceoR9s1W1qeKbKCCOtLXr2kptubZRu0gnqYZabaJ2VxvJUCVfOoMZodpdeoG0tb38lVm7bZa2/F/3uteVMimbvLwjzE71TvK+UjZtNl1EXr4Sk568vOfcJ+XUPnsP8GeME4+Ow6jH3ztBfPrYS17ykvEvEZXH/aI7uTZp0ttcv02c+o4L08d72wxh9/0tb3nL+HIk3v10De9VrvpW7+SDjArHn2FbHdJhyRGZIYfe/fRY+oi01bW681yoT/oBI61jcdSdzTn1WmdokykbOfP+Vw7nyQP5NwCh/pVXGHHIqmeNEZYOTZ6lyyjt2XjNa15T9F56l2fDM0HHJkOuVzhp0ivIc33+PKfK5fo8f+6BfOk97g19yvPh+fQVgLzJtLhc6bgWup/4ZNs9kJfzyuyZ5e+eOd5eeFY9+9o112NTf67Tdak3uphrV1b6YG3rtDmeZ22aa+fvPqsDda3+bGSnyhF/6dP/pKGNdG/kpU2tei8d1zn6Ih1Se0fPVX/KqDz6OupU+6SdIBf8pa1MtQ7lIz45UGZpq0Pl1F6RBW2NtpG8kAVtUr2mqmvWuhPeddhXx84rq7jyqdetHK5bWPdAG1yfL3q350i64jsOIYQws9hZZuQz1k9qyD/77LOL23ZoelpFrrd94fa0CmNP+zIrrq19afbOnz/fud72Rdfb+vW2SkPZ2gL0tYVpy9LXt3jx4rXrn4SwERBoyhLliqDPRHSgKIGU1JmC2XR1eZ2Xvexl4w1B2Di0wzqrlHiztCaDsu/zcoMnGt66RMBU4TcGnxTr6OoY6jx249NgHZYNPRdmWyqfl4CvV5RxpqCj6KXk+mZSuUIIOxfaaYYe7TLleEthCQZGOwYqxiFoc82yZ5gy0M54uLVwXd458veeN9NYOSZ7/7h+X5Ix/DKEMkqGmU+VXe/wHUWXo7f7YpQRlxGVjjwR739fNQrDaD5RhzYZhVGfcZd+NV0Yhy3jw+C7JfSwmYqOP8O0/tGOrj/przC+GxAJIYQQtjannnrqe8bGxkZ6e3uHu932FLds9jv+ZZ/ruO637lAN276Hh1t9baS/v38E/LiOh4eHuaOt/l3cVk8Zafsio7Nnzx5tj8eWL18+1vYZRpcsWTI2Z86c0VbXczzW6jBleY5WhyruokWLuGW/EkN+mJHovNQfb1LizYYIYVtiNhDDiBlgZvFsyGgeQghh5mGGrtm9ZqGaFbw1jeshbEnIrq8tzfDdGIN22LnxJSgd1Uz5iRM9QgghhDA1O4shP5apMCPR0TYDyWeN22IWklk8PjluH7yOT9jVIXs2Myt3FsNP/WQ6hBB2FVoFu2ytwtzxCWHHgMyaRBDZDd1YukrfyBejIYQQQtj1iCE/zEgYTq3baC1Pn45uCj55N7N/Olin86tf/Wr5VHUiDPwjIwbpNh/rjW4Iy6n4NHkifno7PGwA8EcIa6YhzB43IBG2DNbltOalpQq6Dfk++bbsk2V3LKFgZpR6+OQnP9l85StfWacO1Jm1jEHGJlvfbDLIXI1n3U+fn1tCgUxXHFtGSd7dkOHJjPUGqb785S8311xzTccnhBB2fqxfbImOiW05rLdsxnM32vb1YU3n7rZ4Q3hf2GBJDAOq3g2WPbMeP84777zyboF2vf4HBzXO1oBOcvfdd3eOJsda+VO9u8wYt674hnANH/vYx7badeyskF16cF26aXtD7umnvpglv926MTmylvnmQt/xfGwMnmG60q6C9oxcTOdrZfpk973Rj+i+v3TYTcVX0zbL40wHbednP/vZztH6maqN9UNZ/Z3a96lot7snY/liYbK2zZKortkyaLDGvbAhhBDCjkR+dhtmLJRNRlFLm0ykLnmis0up06Ewc5pLQdW5+NCHPlQGAfzgTSfU7OoLLrhgfJb1hRdeWBRB6VDi/BjK4IEvASh6V1xxRRkI+OAHP1jWm6cwy5cBVRydbsZWM2KsPWuf0siQSpn89re/XWZS6dhQGnVO3v/+95dPYaVDiXReOYaGhopRWGf3/PPPL+X18ylGBuuIMgJIQ9kp5X526tqFV06fXH/kIx8pBgB+rsEa69Wga81Q5ZCee6LjzbBcfyZWy6jsZvm4T8rkZ067Mu6fNZXd98qiRYvKj7YYYC655JIiF+61tfEZKXQK/EANX/jCF4ps+HHge9/73nK+/uzVT4zVAVdn3Yy7KkfqpBpy1O83vvGN8mk9ORVfHAYYciBvP/1SFnKirnWWLCEhffHJth/gkWvXo6yeLTIqDc+DdffVvzIqhzjCK5dnygCA+6AMZreSdeVwTtm671EIIcwUtLcGPA3OTjTkM0J5/2kr6zu1vvO9Ex17X2tvrbntfa3dhHc/Y5Nz3t9+UK5t9M7WvtZBAmvpS99PYQ2m1jabDmFmrXT/+q//ugwcC6+syuldIA3hvJMtDSR/+gUDuvbZshoMWPQG7yvttfJ5B1h3Wvm10/QpupByuk56gOvyblFW73vX65quvPLK8h5TBueU3XtDOt4X8rcGuneE8HQS5a7piu99IT4/7wqu++Cnqq5Bedw3Opvyy9uAgXS8D7fFl5g7CuqVnEw2K999I6tkoepx3ufuv7oWr+7TW9UZnYCO6Gfz3vfkhF5LHugX5E161q2nV6h/da5u3/e+9xUZpxvTE/zsk4ypU4NRykK3FUd5yYK0rH8uDj1DPnWCgrjKRBcl08qiTOeee26REefpNQYP6LfK6TmrgwnkU5rK6Selrp+feORN/4DskldxyJqwdB1yNrE92FHQx3GN6nSya3Dd6kS4z3zmM6Wdc1/cH+E/97nPlefP86ve/NzYPVJH2gltj/usrvxPQz6M9eqVnJENcvWpT32q1KXnVb2rH6gz+fMnT55t7Zd+mXrlT/60fcqkXtSHNOWpvB/+8IfH5V6e6o88ad9cuzLw14bg7/7u78p1KLv2T5q1T1T7icLLWxhypt2Tn7S1u9LULwshhLDzsrP87DaG/DBjqUo8BXIiOhAUNUZEyplnRkdRJ5CRtXZUKIE6qh4OyqnNj7UobGZP17A6+OLCzCdpUy4pnx4mnU+GUAoxZZjiSpnUERGWcmi/lf2iIOpg2NfptclfB0X+rofCTMnUMa6GdJ0ZabkWBnSzbaRDydQJ0tGhxDIK62QrH0XbNfphqHvip3fCMxTIn8Gesuy8zo5yMAy4VxRyRgB5CMew4F5I173XYIhXG5JdEfdL/Xcbqd0jRnIy4B6pN3X4zne+c9z4c/rpp5ewOhHq1D2076dvXHKlnhg4dKbUIWO4Dg95Jp/qWt46JtKvRnZx1BeZ0SGrA09koQ5YSYux3kCC8/KUhvCMTH52qN51bqSvM6MTpuOrPF4i5Fi5yZ34npWvfe1rxXClw8yw5NrImQEwxoMQQpiJMDbXQdRuvJ8Z9rRx2m/tnjZUe2afQYkhyzvTO1TbWg2C0jKwSXfQJtMjvG+d46d9PPLII0sbyWBmEF8+4nu3CHfEEUeUNBnAvI+9A7wnxNeuK7PyaKOFEVdewkmPcUw7Tz+pOoI23XvErF3h6Rvacm1/NWR5T2nL6SXeYd5H1WhPTznttNOKjqO87p14yqMs4nmHuTfeG8LQK7xr3CPvL+Fcg3cSfwY7ZTEAzmDnPaq8BsK53jnylZf77Z6Etbif1aA5EXqf+0Y2yAToxeSaPKl78kIfMNijThh31aW6ftWrXlXu9yc+8Ynib9CAnNC9yTJ9tO3GFZ2THqze6MjOqbOXvvSlxWCr3ugrZKk+N/IgU+TF80QOvvSlL5XnRJ2TIfKjTNJnyCfPrtU1eB5dE9kiY3WwTB7kSppczxBdhixJh8GZ6/rdH88u3Um5+HtWpO96dlT9Vl15nqYy5JvYow7cH/Wk/oUnJ+65+K7/61//eomvrtS5+6Ld8vzpO0E/xSDkv/zLv5R+yXe+853S11CXnmvGb/nUunD/yYd03XNtCzmpk4jIiTzUtbSkf9ZZZ5V6MVGGrqsu1TXo2uqfnKlzz4Fngi6svGRW/WtnnSOj5JEuqxzyFb/qs9oy7Sk5J2PaKl/UmjyVH+6GEMLOz85iyM+wc9ghYWDWKfETUs+LjgjFj8JGwfQQ6ADDeYZxnQedai4ombVTqlProdHpoOBS/p0TpqZjX9qUQ8qjh0+6jJo6pjoN0vfASUfHnf/JJ59cOu0U5Zq3MimvY51tyrgyM6ZToGuHjVLpmnTG5C+cTolOuvJRcCvKrUzC2aShQy8Ow7zzZk8xwDJEU2AprjpNGgv7wiq7tMV1T8K66EjomOgQ6cC4d2RAh0THQGdEx7pCRv/t3/6t3F/hyAzD0Ytf/OJyrx2riypX5EaHi2zorMhPHjopZ555ZpEFciFONfKQJ/VN/hiByBLIg00YnRuyDmlVGSEXzjEqSUdcXxQw8Oj88athpWNAQGeIv2vSMWY80rkOIYQdDe2bd7V2TztXjWPezdpsftrF2g5qP703GR4ZpLTFBjO1/9712msGLelI07teO6zNrOk5hrS0+bU914YLw4+e4z3jPa/tlb+0lVX4+uVX9ZcmF7WNl462nd7gvHJp1xmyHLsuYW3y907z7qe3eP+7RtcmXXoDoysDrK8HvCNqOoxy0vU+cX1ceTMA6nwwrNFt+NWy0pUYhb0z5SFfepR3IcNb2DB0uk9/+tPNy1/+8lKHDKtVPsiP+iFP9qse6H6rO7qCsOSSbsvwS7dUN+KQWzIkDj/70uU6rroBqs7BzybtqnObBEDXqf6MwfJ3zKhsQEoe6l/5lZNeRCaUD/QMMiecuGSV/NOPyKk4yu75ky4Z5FYcS19fwbW6BwY7XPPOhut2n9wX9949d18Y2LUjjAZkxflarzW8Poh75N7y14a5b1A36qDqk+JUebC5p3VwRH17vskQWdI2QPuiT6M+hFNW9Slf++pGW6FulEP+DPY2eYgH5Vd2ZZAvORNeGJAf/mSwzrzXfslbXCi7vAwEaJsMytLdDSSEEEIIM53MyA8zFor5VDPyKWyUsDPOOKMYNRkozYKmjNmco3zqbFNkKYg6lJRISiXFTgfZ+be+9a1FQZWPMDoIFEwKo04SRVRHWrqUPkqsOPKAmWvSrEZ9rtklOqOUWsosZfOVr3zleAdKXP4MoRRLCqa0lVUc+xRTyqdrk54wjL/uieugnAtLAZava6GI6iS97W1vK7NOpKczZKDCNevM6RC94Q1vGC+r65aG67SvQ2jWXO1s7cro/OjcqPMK4w7DBJl585vfPH7PGOHV78te9rIyk8i9JUe1DhhG3HOzy9T5W97yliKX6k09cnV+1IPOjBlM7r/022a0yJ/OEHnXyZKGtMXxHOiMMIJIq8709JmyTgn/17/+9WVf2s5Jxywm8iS+dHTSbMpARuXpOWBUUYaf+ImfKNctjuWclN81uT7PiP0QQphpMNh5t1dDT0X7pt3SJnqnare1fdp972DvTIPw2lrvfTNKtYu+7NOeCs8QKX1hX/va15Z3tjZanGq44uc96x0hrDbZxlBJF2DgZgx3vsbRpiuDwWCDut7/4mqjpa3cyimewVU6gvbfzGXvcO06PUjb7h1G33AsnneJ95OBWV9oea/JQxzXJAxXmZWTQUwb751E16q6VDXCSZefsnj/MMTxcx3SEUd45TMQTqep7zH1Uu+7e8s4S/8TPqx/Rj5/944e6p3u3hvwdx/5kycyRLb5kQGyWOuZn2eCLHvHv/3tby/1QPcky2ZUG6QXn9xJT3m888mFNNQzgzxdhZ5RDaryUIfqmGw4T9bFUefKIeyP/diPlfz4ycN1Cqts4rsu+igZUk7+ZF2ZlMHzSa48h+TGvfBcmc1Pvn/6p3+66Cxk3lafL2HpM8q0o6FPMdWMfMfaB7Lgvrmn7pvn1LOln+P+GKTTF1B/2hjh6anC2WrfSj26T+J63t0//Qv1od2gJ5MHbai6UY+1DyQvbYK6Ui51q86EYTSnQ5MH9UH+9FOE8eWx9kl6tS1405veVNo19aWtdV0GAsXRNroXwtFfDSwpn2dBXuLIl/wqj632yWxvfOMbiz5LThy71hBCCDsnO8uMfG//dTWAzvHZZ59d3Pal2dO+jHvbjkBPq2j1tC/I4tpapb63fbk719t2Qnpbv972hVu2tgB9bWHasvT1LV68+E5phbAx6MTqtFLKtjSUWkoso+bOjtlzZkxT3CnL7qnOHKU6rB+dBgq9DsKWQNtu+Zo6YLS1MbigQ6ZjsqnotNdZcyGEsCNiRqe2kNK8M8N4Ztk073pGLJ2BbUnbUSlfNNKxGAcZhcPmQYdTn90TCrYFDKjqUudSXRrM2VIw3JNTutCW0q+6MfnABBbGZXnsbBhUM2GEYT26fAghhDB9Wr3gPWNjYyNtn2C4221Pcctmv+Nf9rmO637rDtWwfX19w63+O9Lf3z8CflzHrS7FHW31nuIODg6OtLr5aKvTjbbHY8uXLx+bO3fu6JIlS8bmzJkzOmvWLMdj8+fPL58VLly4sLiLFi3ilv2Kt/9EDaAcx5Aftjdb05AfwnTY0ob8EEII255dxZAfdj62lyE/zFxiyA8hhBA2jZ3FkJ8eTQghhBBCCCGEEEIIIYQwg4khP4QQQgghhBBCCCGEEEKYwcSQH0IIIYQQQgghhBBCCCHMYGLIDyGEEEIIIYQQQgghhBBmMDHkhxBCCCGEEEIIIYQQQggzmBjyQwghhBBCCCGEEEIIIYQZTAz5IYQQQgghhBBCCCGEEMIMJob8EEIIIYQQQgghhBBCCGEGE0N+2CEZGRrr7G0dRoc7O5vI6EhnJ+y0bG0ZHJlMBjciy8hgCCFsmJHBraxPtG3x2GZksbn6SNi52dq6yNjo2m1TifxuH7Z6P2mz27WtW74QQghhZ6av3XrW7o5Tjk866aTirlixomflypU9IyMjPaOjoz0LFiworo3frFmzitvf3z/ub+vr6+utnHPOOe+SVggbw/DwcLN69eqmlbmOT0ur9930zdXN/T8Ybubu2duseXqseXrZaPP0ktFmpFUqe1uJfvSukeaBa4aaoVVjTV9/T7PiidHmju8NNmtWjDWjQ03zTBvedv/VQ83ImrHmwWvbtPbobZ58aKQZbMMI9/i9I83Kx8eakVbRXNG6/B+8Ybh5+uGRZtZuPeX8fVetzaPp6Sn5U2qH2/RuuWBN88iNQ03/nJ5meLBplj/QxpnX0/QNTHzUwkynbf+agYGBZvbs2R2ftajje64Yanbbu7dZuXysWdVuy1v5GSsy2NM8eudI8+B1HRlsj1c9NdbcftGaZmh1K1OtTKx4rJXZpa0M/nCodHLv+N6aZvf9+0oaZHpw5VoZXN3GG16zNry07r96uFn+4Egzd/ee5on7Rpp7rhxc25lqO9lPtbLp+SCDt1002Dx8fSuDs1sZbI+fauWzf1ZP2UIIYVdj+fLlzZ577tm+rtdtAx+5ebj54edWN/P30ZaPlrb3iQdG23Z4tJmze2+z7I7holM81m6z5/cUXeC+Vnd47B7WyZ7SRtMn7vtBq1yM9TT3XD7YzG51BPrD6rYtX/Vkq0M8OtqmOdK2/2vb56ceGW1Wtm06HcI7RLuvHPKat1dv88T97bukbdOH2rDLbh9urvvi6rYsbbnb9J0DnSLsGjz99NPNvHnzmraf1fH5EY/ePdJc9clVzZxWH1791Fr5Xf7QaLOq1XvpyI/ePVx0iaW3DDdzFvSW8w+3uuzDNw43vb09Rd8o+nDRRVr5XTxUdBh6ML2mbK0MP9bmM7RqrVG+yHKbzp2XDBb5pV+QXTrP/P3Wyq9ww4Pts9TqKVd/ZlWrs/QW/eTx9nhsbKx9RjKPbHNo+91N2zcv/aOJbRqW3jHSXPO5Vi7aOl/ZygI98bG7hps1K5u2HWvrqK2HZW2YJbe2bU4rJ+TiniuHmqfatmiYntrWn76LfpK25savryl1qL0r/a5Wf6WX2la17ab6poNyr/vCqmbPQ/tKmAdauSKPcxa0/SbtWnueHuzc4k+sbOa27R2d+Kkla9u8tGshhBC2Nueee+5FrTPWvj9NUxh32407vnX8pzyuW29v72ir24y1LqekU49HR0fXcdv391hfX99Yq9M5LrbOgYGBMTYnfu25YnuaNWtWm0zT7LbbbsW96aabituNN+bEt2Y5Pvvss4u7dOnSnmXLlvUODg72DA0N9Rx44IHFta1Zs6Z3/vz5zvXOmTOnt/XrHR4eLltbgL62MG1Z+voWL158p7RC2BhWrVpVOt+tzHV82iesfTQu//DK5t4fDDYDc3qa+Qt7m4euG272Pry/2fOQ3uagkwbaTvmqcm7uHmtF+6lWYXS8tO0QH3hSf+mY9M9uSof56JfMam79zmDT3z4rz7SdbZ3sF//SvLaT3nY+Pr2q2f/4/tIhP+CE/mZe22G554o27Jym7YSPlbxHh8aKEj2nzWvpbcPNmT8/r3RodJw0BzryJ7xuVnP4GbOb3Q9Ix2VHo23/mrlz5z5rMOmKj65sbv/eYLNXK3M6w4/eM9zscVBfMfwc98pZzaX/vLLZ8+C+ta8EUVpXh4ehaJ/D+5pn2v35+/a1HZex5uS3zGmu+fzqMgjF8P7ILUPNm/9gQdspHm5u/faaIjc6Twc/r7+ks6TtkK95ZqzpG9AhY6hv2rTajljbOdLBes7LW+FuA979/bZD3vb7e1qxO6qV88NeONDscaCx2xBC2LW4++67m8MPP7xtr9d9D9/1/cHm0nNXlPc5neCBa4eaA44fKMamM392XnPx369odj+obYOfHGvm7dNbjFZmunrH7/ec/ubppSPNPkf0N089MtKc+XPzmtu+s6YYPufu1dM8cPVQc/o755U2/Lt/t6LZ+9C+8g7Y65D+5pAXDJTB3dGRtZMHdmvzNlg7q23TGVIZVw86sb85+JSB5qpFK5s589cavPY9qq859tWzm/2Pe7ZRN+ycPPTQQ80+++zzrAkFeOj6oeY7f/tMMYguWNjXPPDDweaAEweKLkAeL/1QK9utfkBnmNfKJP2XUXfZncPNwmP7i15CVzHYdOo75jb3XD7UPL1spIR96Prh5sQ3zWkOfUF/840/f2at/D452izYr685+mWzmlu+uaaoOAzFC/ZbawwemNvTzJrbNMsfbPXmE/uaI8+c1VzzhdVlIosZ2J6zk98yuzxjYdNp+9/No48+2hx00EGTGvINEn7vH1Y0e7Q6qgEY+iW3p3XP/Lm5zQ8XrWrVxFZ/XDXa7H1kf5EHE5+GVrf9oNWtTtnWJ32Uof9tf757c+H7Wxnbo+3zDJssNdwc95q1bdB1X15dZGf3A3uLIf6kN81uFn9yVQlnIOnJh0eb/Y7ua9u40TKpxYDkqlY2X9T2lb7byu3erT7MwH/4aQOtTLVptjIZQgghbE1OPfXU94yNjY20fYLhbrc9xS2b/Y5/2ec6rvutO1TD9vX1DY+Ojo709/ePgB/X8fDwMHd0aGiouIODgyMDAwOjrU432h6PLV++fGzu3LmjS5YsGZszZ87orFmzHI/Nnz+/WJEWLlxY3EWLFnHLfsXbf6IGUI5jyA/bm6kM+Wa8USR1DHpbxdOseZ0Ix3sd2tvccsFg6TibDcQIb3aceDrfC9pORE1Hf36vw/qbVU+Nltl2q9oOCmP9Ca+d3XY8VhUDKUP+HRevKZ2TE14/p8w40lkSds+D5dGU2fgMAIOtonroC2eVmXwMtctb5dQsv32O7i+d9AX7x5C/ozGVId9MeAM3ZjsNt3Klk7RbW9dmMR10Un9z7RdXN/u29W72JgPPnoe0MvNEG25grHSGYHY8GWOYIS8M9Azvlnk4453zmis+vrLpJ9OH9RUZJGNHtJ3iJW2+ZlCtlee+0vFiCBKWzB90cttBbrMg074yMcCwzxF9ZbDJrP8QQtjVmMqQT5e44+LB0r6aAc/YuHerF6xu3+OHnjrQ3PzNNWXWcZlxumSk6AjDK8eant6eZrZZ8i2+kGIg3e/Y/mZo5Wjz+H2jJb6JASe9aU7z8E3DxeB60Mn9ZRasiQKnv3NuafMZ7r0nykB/+24xCGBGrHwM1mrPDS6Y9Ty3fd/Qcebs2dPse2QMXrsK6zPk+0Lvlm+vKbJBJ7AZWKKjHnLKQPka1UQWBlxfgpBVemvbySwTD1oxbuXY162jJR6ZffLhkTJj2kQDEwNWPDbW3H7h6jL4JD+TDM76xXnFyDur1Y0Z8Blyq/wOts8A3cSAweFnzGoeunawGHSF3ePgvlZXauX3qMjv5rAhQ74Z97df2LZdrV5qMtPuB/a14db2g45o64RO2dPXykXrZ3DSTPjBVQZ7DPqsDW9A0Sz7I180q3yVNLym7Svdu3bm/PGvmV2+0vCFhUEfg5C+SnrJObsV/ZjBXhtJpzWQ9ExbhtXPaFvXTkwhV3d/f7BZ3copOTmg1ZvN+GfYDyGEELYmMeTHkB+2MpMZ8jcXBvxJdN51MEPObLva0fDJsY58t4I5nXTGacN66qYdPswYJjXkbybTkR0dpcfuHi6DAfB5825tZ2jvwzZRBls2NnwIIewsTGXIx6a2jc+K1x4/S6NusQzPHgf1N/0D7X6rWzBeHfz8TZ+RnLZ812J9hnysVx6mkElMV34tlcMYa0DAMlAGBA59wUD52m9TiPxuPhsy5GNT5WLiuanSsfSOL0FMlrJPLg47Le1aCCGEmc3OYsjfRDUshB2T6SiJZqF0zxbSYZk4S2SjlM02bJTTUJmOLOggVyM+zAztNuJjY2UqMhhCCM9mU9vGZ8WbIh0znS3f57yvozbHiI+05aGb9crDes5NV373OrSvfJXqvGV4LNO3qUZ8RH63DZsqFxPPTZWOL00Z8ev+5hjxEbkIIYQQpk8M+SGEEEIIIYQQQgghhBDCDCaG/BBCCCGEEEIIIYQQQghhBhNDfgghhBBCCCGEEMIWYnh4uHnmmWc6RyGEEMKWIYb8sFNAURoZ8Y+KELYPkcEQQtjxGR0dbYaGhjpHIexYRH7DZIyNjUUutgOrVq1qbr755rJ/zz33NNddd11z7733NitXrmxWrFjRPPnkk6VehHv66afLj4zB+L9kyZJm6dKlzerVq5srr7yyhOPHVZ824Z966qny3OuHQF9kcHCw/Chb2Mcff7ykIc8777yz7AsvjE0a4tR+jHIom7jVz1bjoObnuDstZZKf61m+fPl4mYSR72OPPVb8XR8/iCOcY9db/UMIIUyNvydO/L1MOT7ppJOK2zbkPW3D39M24D1tw9qzYMGC4tr4zZo1q7j9/f3j/ra+vr7eyjnnnPMuaYWwMXipe+m3MtfxmRrKUQ378MMPl23+/PlNK5edED9COP6UFPT09JS8WpktSg6X3yOPPNLMmzev7E8FpYWiM1k+k9E+G2VrH4vx40cffXQ8H4oSJUbZQbmp+StjjYcnnniinKt5Cyt+DTPxOGw8ZGRgYKCZPXt2x2dqKMfqc+7cuUXRfvDBB0u9ij8ZFGf1110/FF8KuXhQhxRe6bZtbfED/245qog/WX5Tha8oizBkH+TGsedBGes2FRNlM4QQZhLa0T333HO97ViFEeKBBx5o9t13347P1DBGaHOnStd7wXntKaOK9/3ee+/dOTs5dArGHe+SjWlblVsbTi+Rp/eXTTrrwzV0v182Bu8K5cXEe+Gd431Wr991VKNPfdd4Vypf9zVKE933VHy6m7R2NRjV6ATT1TOFv+uuu5qFCxcWmajGvKpXOu/e1jqYWCcV+gScr7rQZLLYLaPSIQfqa7rlnQ6eX2WemKZ81qfbkBnXJa7rcS2bKuszCc8I/Uyfp/s5WR/q5fbbb2/233//0n/w7KnX3XbbbfzZcp+lvb575H5PpWtORLrqRhnVFdlzrE5qXwyuxf5k1yIeHXUqeZIOJsoAf+lNJRsV4aqMkOXJ5Ml9uv/++zfYdleuvvrqUmbvHP3Tu+++uznqqKOa66+/vvi7D67rjjvuaJYtW1beCwz86oiR3/PO+F/r6cADD2yuuuqq5jnPeU5z8cUXl/slnv7ijTfeWFzvjBtuuKGU37V873vfK++fww47rJRdXtoFdSysPkr1r/koKxlRNu9A5VIO7biyy/O2224rMnTTTTeV9kU68r/22mvH31vO1bA2bY8w/OUlTfeB/HYPboijzEccccSz2qMQQthSnHvuuRe1zljbVho1HHfbjTu+dfynPK5b+84YbdvNsdbllHTqcdsmr+O279ixtn0ba99pjss7qH2fjnnP8NP2eb/W97B3NLSfE/HGnPjWLMdnn312cduGt6dtWHtb5aenVQR72pdJcW1tI9zbNs7O9c6ZM6e39ettX4JlawvQ1xamLUtf3+LFi++UVggbA0WRwkGBmYhOSVWMKHff/e53mz322KM59NBDiyIj7qmnnlqUHQoIpYZyYZ9icsghhxQlRXh+HqRjjjmmhHeeIkvBoTTZF18HgOIhjrjyozBV7Hv4pENxYfyluMhXOvalLa2aL6WHv2NxDzrooOaSSy4prvzq9d13331FwVNuDzZlh/IknPJ54G2Uqloux9J/6Utf2ilh2Fhq/U02mEThp3CqI/ea0qzO1fUPfvCDUn+nnXZakRkKMpml/FLsyQ8Z3WeffUpdSp+/sJRq9QwuBZcMOLfffvuNyyNlmCzI37H3xuWXX96cfPLJJb/dd9+95PGCF7ygxNWxoEy7Hp0Esig+WTHwpQzOC2vGzMte9rISxnmy6jz58kJRBs+Mc1485Oy1r31tFO8QwoyEvnD44YdPadRh4GC4124yZNxyyy3NW9/61rJPLxBvrW6+1sCsndQua9chLoOpdlLbr40888wzmwsuuKA59thjS9vpHa4tfcMb3tDceuutpf3UFlc9xTtAXO8T74gjjzyyGDm0xd73jD/eISYZeP9UfUM7rQ1WZu1w1Sukr4NwwAEHlDIrq3Jrwx07X9Npdfh1DF/y4mf/hBNOKEYcukW9F8479g6j70jDtTjnnUR/8v5xHfyVgZ5zzTXXlDDePSeddFLzne98p+h40pWW8iiHe+0e0uNcH3+6nTjuhbDuFZRTGXdWyJXrXd+EAkYwssfQSGYY1cgvvQTqgG6i/tWXuve+Jwt0giq75Jg+IB11QgdXH+6xOAYH6CzScv+dp2+QcTKgbtQbyDF5ck6ZyIM8yYHnzbNGVpWJTNiqrqMsnhdpVl1WGZyXr3Skx5/8uD/uAVyPMpMxLp3Ic6zcyiNfuhX9eUfFPfJcuAbXNBX6Duq+tk9mdb/lLW9pLrzwwuJf2yn+nmc6rXbSOfffc6jdIA/yJAP83ENtFvlxX1/4whcWuaEPCs89/vjjyznxyK68yIr61I6pL2HUo2twPeTLOfIinHMM0dpLdW9fOOG1CfzkoTzkR17qVrkWL15cDMLOuzbnpCmc9kveXLJY20BhhXG90iBb2lXx6eZvetObStgNcemll5Zr8ZxoO+nU2mr3xrtIGdxn95Mhnm7vHH8y/bznPa/IufvFz3XoG77xjW8szy8/6WhX3Q/PAz9peN7IvXQ9A6985StL21mfI3mpO/fPO6e2vcrpWBruq7K5r+qg9lvIm/OuxXvIJt36XCqPZ1c7IJx+inLpCwmr7O6p8HvttVd5x5FF9el+qyPy9eIXv7iUPYQQtgatbvmetq0Zadun4W63PcUtm/2Of9nnOq77rTtUw7bvheG2zRxp27b2VTcywo/ruG1ruaNtm1jctq0cadvN0fa9ONoej7V61Firt4y27f1Y+x4abds+x2Ntu146He27pLiLFi3iru2IdPA2mtSQnxn5YXtTO3SUgonw/+Y3v9mceOKJRXmg9LUPTVE2vPx1Yik2XAol5YDyRbmgPB588MFFeaGAUG4pNZRHSo7wrTwXJYYrPIVM+pQxLj+KHZcfJVUaXPlTvhxLi7JCoWmfk9K5pURRiKqCTfl1XudDB0ea4usg1cEIyrVro7DVa3J/KEbuj/vhPkiH8q1MVUGebCAkTA/3mYxM1oF2b8kgpVnd6gyQGbLCVX/qmsyRP/VCUdVxsKkjyqsOSh24qbJB7oQ57rjjSj7SFl7a5FhnQ1xp8iMTZKbOpCEHztsnV65BesopH3KjjGRfODKoo8DYT1756QwJZ18Z5Ws0WAdHfm3TXpRyz4Ew4nNDCGGmoT32Dp2qjTIZwLtU+8Zg453KiKHd9d4W1/ugGq21ydpIbaL3uLZS26pdrS6jBiOQdLTD2kxtN2MUIwwdQdrK5D1Pd2BMco4BBPQYbTy9QBuu7RVWG6+MDCqMNHQD74Ojjz66vAucVy5x5Os9Im16g/eRtl85vRO8N1xfNZA79g4STpmUv+pOrkPZvFPcB0i7vhP4eZ95Z7hWZWWw8p6o+pVrdl3C8aMLKb+yK6/rqOWkEzFIyZMeJH3+yqFOhfV+dq93VtwTdalOpuKyyy4rckSPJZvus3oTzz12P5374Q9/WGRDfXvvq4eq3whHjsUVxj12rF4dS0N9qmsyyY+sqRN1ISydA+pKnasfxkwyKi75Ui7yR87JoLqVHrlTj+SajEjXeddtIMxGXqv8kxlhPIfuket3DfyVVRjXJgz5db3SI7uedbrOjkq9D65jfXoXg7K2SD/ALGj3Sf/HvZFGPTbA5t47liZXvZAf96+2L1z1o77Fd7/lLxy58MxrM8R3f8mSNtB58Wtc9cJfvWtT1Qnd14CDsmkbtcPqXv5c16ENEt+xtpmMStO+TT7ia5Pqpn+oXVc2bs2PfJIpYciuZ0K6ZFhZ6euujSy6F2RHW+b6NoQ2nqzDNRncVDZ5uGb1Qd+veWr7+Cuf+y8fz4l7qA1UFvWjzNITlj8/9acfwuUvX2k41odwj+QlrGdFGOkwovNXFvkqszDSVT+1TNUVrubnWpRJetIQxyYd5XZd/A2wius6PJPu4emnn16uobY98lUW8Vy38NIOIYStRWbkZ0Z+2MpQrihslIf1QTEApXLts7N2JjVlQIeGQkNp8KBUxRfieVAojBQO8SlUXMobKKP8KByUSAoil/IqHcqfzrGNYiQeBUeHgesBFd8mLWl7QJXFA6pDSpGp+VHAXLP0KULSFJbyLD/lF18ZIA9+rkPaXPHFE5/y6drDpkGOKMFVZqaCXNhq3djEpfSSySovzutskDlGDPVvI38gJ+ReeIovuXOsHqWjLmsnm9yQqVq/tRMjDTKg/uVnXxgdE/IhHNnTiRZeXp4xhnhhyJFrFsZ1SE+eNvH5iScsuXfMX1mFDSGEmYb2jpHAO3l9aM+8U7V/2kL7DBDeqWYs0hsYHrS/2nTtYjUsC8uQITx/7T/Dk/e69JzX9ovPqCQNbbS2nX9t373zpaddtS+fqovQFbrbeG0xPYS/tJRTGaXJzzVUo5pj18elU+gceL94VzHI8GdMUX7p25eXdl4eyiu8fIW1ydO1COMaHUvXMhDCmmxR3xGuiW6kjO6F9473CGOa6+CvXNKCe8FopCz1Hruu7veeffm6vp0VRm8y5P5viG75rTqu+0vuGfLdS+fcT7IlTe9udY4qu8KoR8fSdN9RdQo6Cz2E3FZ9QP2ocy7kT4ako16lo46VyTXVZ1F8+Ylb85R2lTV5S8ugAaOqrwzFUQ4uORRfOPIuLNex8np+xFUu16us5KWWc0dE/bmn9EjXPx08K+698O6PunOPyEU12ksXXHIB4d1T8d0/YdWd57S2BfW+ilfbIOelry7pme53rWfIr7ZH2hlhxFFf2gl5GABi+K1pkQ1puHZ5Q3nEl1b1c50Gb2rbqS1WJnFdO9nhR9Zt4pMVm/JKS57ikLmqH2snN/QOCZOj/qYrqyGEsDXZWWbka1EntqrlOIb8sL2h7FG2NmTIh7CUK8pkN+2DFMUhbDLTNeRjKhmcabTtdOnk6OzrqOh47cgd2hBC2BDTNeSvD228NnNn0ynavkYxYG1J3CvvmbYf0PEJm8rGGPJ3Zhhxyequfh9Ab9tYQ/6WhKF7c9rS6SAPhnRt7vZiS/QhDZgZTHAtJphJ0yCKwQoz0WsedHL7rlfbKQwMOIQQQthyZGmdduPXZpaldcJWgdJeZ6NtCDPv6yw2ChNjJVfnlHJEgeLnWLr266wlCnErs0WRamW5nKszfcQzW6N9IEuHVFwze2p4fvalYbaG9FuRLwqYsMLo0ArDX9pwTljpiyecY/mbPSW+zgo/yp5j1yYdKI/rtYkL1+M4nZwth7qnUE/nnvosXP2YgaZeoT7VIflQT1U21JVj9WjrDodap+SlnpO2/XoO5Eh8rnM1LeWux5COvCEdm+uq8kSOhTVwYR81bXHl7xjSVX4oC5kj454lmB1lq/dssvK4B/KWV5V/x1z3oJYhhBC2BN7pdfbohtDmaY8sD6PtEo+fNrP73Q3H2lZtnjauux33Gax4tT1zbiZS3w1bEvdqa6S7K0KXpY9O971IDumRNbx6IJNccsv1ZV59H4N/1SfJft3q+76+nx2DW+uXjDsnDf7e7/Kuz4l8hDXjWjn4d+vFVWev6YvP9ezRKzxjztEV6BXi1XxrfGlz6yzynR33R73oH7k300E9iFd1OfdOPdR6cmxwwD0Wxia8JRc9z1VnFF5alqxxv7WtNY401F9tL5Wtto321SlXOFSZcSyOfelX2av7VT64ZJcsiCM9eis/ssUIrjwwI1+/SZwqk8otT9ddy+C8fJSf28107+368B7QP1BfNv+vIKv1J7KWoSK/+nquwVJijoV1XZasCSGEsOXI0jqZkR+2MhQtCtlkM/IJvbUf/QSOoJ933nmls20tToJOAfIJpLh+9uXzbusx+pzWudopsvaf8BQ48SmxPjOlZFmf3rqRlElh+XvIrONIsTJ4cMYZZxSFi2Lo2OfelE4PoHjyEtf6iKCUCUvplYbP7im5PlOmgLpmip3rE1+5nXcf5C1dP6+1xiOFT1vB9ZBrDOzn57ZbjvXNyK8y6KdMwlhjmdLf/eMw8c8666yyLi05EI6MkRGoM3WqM+TnVldccUWpU3Jk5k79QZx9siKscOTI574QXnzhyBW5kS45M5NHJ4Hs2he2rheqIySscOTTOUtHmCFk9mpdv1jartWm/PXTYml4duxbduGUU04pZRJOmgY0lKl29KRHlr2gqr97ZLahZ9g98bx4Rj0bllQIIYQtwXRn5GsTLefA1ZZpt7WJfiSubRL/+c9/fmn7tI9mSmu3vHu1W+JZ813bZl+bqC0T9rnPfW5ZVieEjWFjl9axtrj3Pp3SRl4ZY+m53rVkmp5JZunC9Ef6gfe/fyuRX+9pMuzdLR65l7b4ykEH8RNZ5+x7VugndG75C0ePIfd0i6prC0dPkp7/O4hPdxaG/u5ahbFfl8ZUTvqD+MpJP5eGuC95yUuK3uQ66DSvfvWrO3di58Y92dgZ+WSgLrPkPtLhGJjJSK1buhydlixo16RP9yQzNtBxycDHP/7xsga6NMmK+6/PUvtJ9FYbgzWdEMpKV1SH9EHXYXKU+OTQMl1+nCst6apjyFt51bN+mX3yJbx0pCuMaxFPubX5ykc+XXOVO3ky3tNn7Vc5hWuXxpbE8+SZ8Gy4bs8e/Vie3imeG8+bZ428u990cvfOYIRr2NJlCiGEXZmdZUZ+psuEHRaKGCh8lMD2YShKGYWnKraUNgoSRY8CVY2HlFAKFOWVEkeBtU9JrC7lqn0QS1jpUcQoo85xnXfOVg2TylA3cSiKFGbpi0MpVV6KHIRRPvlQ3mr5heMvbUaAti0o5XJM0ZOePLlVAWVEcG1h21E7J51R1CIbteOh80Am1LF64erc6GDUwSkdFzJiI591sMYAgLoWX4el/pxLePWv80Jm5CcumRG+yh3ZIGc6BmRfh0xZhSMvOspkTVo6C/XYebKpHAa2yJz8nRdWeXSSPHv12XC9wupw1IEP58TVWanPoPyVS3iGMdejo8517VXe5VfvawghbEu0W9pObVJt57RZ2kbtrXZQe+gco5d3s7DOa8u0d9pU6QjHX7utbRaWXwhbkyqvdAHy6v3vne4db0CATlD1jrrRJcm6dzgZ9S5GNZLapOmdbt/72rE06zNAdyD3dBzhGOW9873PlcEzAM8RHcjzIg3xnDMjub77+TvvWJnpx8rn2EbnUA76DB3bc+e88oTJ0WbR4eq9UzfqRR2rQ8fqBuqP3lr7KurA/RWfn/j6UOqCrKgHrq32S8iR9PmJKz11Rd7Uk3zFV9f8yKq4jsV1ThjtsU35lUs48setg6sGaaWhrZWf8klLPsqin8dfWBNbqszzk4bnQ3r1ercknodXvepVZeDKIIZ9g2uvec1ryoQxg2fOGZQ66aSTmje84Q1lQMQEL4NlyhlCCCFMhLVz4lB+Oc6M/LC9oVQyRFaj51RQQClnOhCURQof5UzHgLLH36w4CiB/SiI/8XQUUONSHCmAoBBSACl8wlIiKVTCUGZ1XLg6Tc5Jm/IpjLKLT4mVn/KBUsngyd/MamWlOEtTGZS5dsJqGuJKl7+wwsibq8zCKYdrkb7yhi1DNUxT8NcH+YC6Uk+13tWbzgv50FEgT+S5hldf6pTMqU+dFnVObqssqF/lqD/bquk5L70anyxA3tVPno7lJ18ypkzSB5mt1GeHHAlfZVtY56TlnHTFc638qmyTYfeKX41bnzP+8nVsX5rC21wvXKdr8vzIo5YxhBA2l42Zke8dzYiifdIeacu1tbWt0jZZHkE7q13lMgBpm7WVtS3WFtb2TFuv3dSGaudCmC4bu0Y+WbPVd3mVzyp/5JoOwd9572qy7f1MB0DVIcSzD/Gqf9Vdqx5ggJ+e4ke0zsNzIB/p07+rfuNdryzCCSNdOkPVVTxvyilv+8LqC8jPs0eXEFfadDNpuF4Iuys8X653Y2fku1/iuadwry+77LLSF3G/3Tt1ox1TZ7UdU9fqTXhp1DaxyhiXX+0TkQlx1IN4ZEM9kRP6n/KqR6465spbGo7JivzJg2s0uUP7a1KTNJVRvjZhxLevvGSj6qFVbkyE8WWsPMWtumVt323yE1ecen+2FNI16EuH35LUZ1eZp8L5eq8r7lP3MaTFT93Venc8Wfyp6E5XvPocdu9PxWRlCiGErUV+dhtDftjKULimY8jf0Wgf7igsOwjTNeSHEEKYuWzMz24ZXhiCGE/XR6ujjxuFdjUYZ1x7dJmtz8Ya8rcl2/oZMNgw8RneFZ/DTTHkM1wziBukDFsXMqleyKovaC3XZia+L3XrYEKtC20pubYclqUrDSz09/eXwQn7+iEGSAyO1EENXzYsXry4tAm+MBCOTOirCOerMMvJQjrKY1k3g2nyMljjHSeuL2PFlSbX4Ij8LHnkXeiLAYM0vuTgGugYGlr7XwFxTJRznb6aUR75kDVxYWDcIEa9Bvm7N46l49jW/Qzbdw0hhLA1yM9u241fm1l+dhu2CpQbisDOZkRNx3fHgaJLCZ6JHegQQgjTw6SAuqTEhmAgY5RgJLOudKvGFn8GGBtjhPQYUhhWWv23vCsYPlp9uBhrzEIVz76wjB/i1aXJGDpsDCfeL9XAonzOW4ZNeHoQv5oGnUicaihh8LAkCeOLeGDo8d7iSoMhiKHHvrgMS8KKK4z067Upg7ScA+OStPiJpwz++cL4I3/n+PlCwfW2nZdy/7i1nK6P6xr4ya9eh/Wj1YuZuGatSkPe7qf/uSiz8NKz7x5D+YVxbXTEWkc7I4xnZqOTs+mgztSVuiGP7pt998o9UxfqUx2oc7LOqCYf95nsOa/e+NV7bB/cKpNkgTGSHJEd9SC/Wr/yty88Wa4yqRz8pGVTDnkLq27lL65w9dlRbj+gJivkmbwI6xm1dIoBD2lAPGnIUzyb69qY+ziTcW9cn3pxH6eD++Y/AwY0GV/dQ3XmHjpnXz1Im59751n2PMqLn3rgB20ZtD/K4B5zr7rqqiJv9sWTpnqvaZILeakjx/zJjbpXp+Lxc177aRCWLNY2RbvAXz3W+6D88nEe4jqusqZs4pM1k3O2Nl/84hdL/t4hDOpkk4zat7kedaHd1wa6l5Zv9S+JWk/iM4I77764Du2sZ9s1qBcyjeuuu648J/7bJZ7lgsSt7yT3wbF7yVUeefpiQhmkw7gvrnykpx6Ed9+EITPuvXupTJ5/8uc/C8pEDurEJ3lIU7mVs9abcmhP1LtrrNetjNJQP76gIA8M+Ttzux5C2H7kZ7eZkR+2MhQKisLONiM/7DhQOKtiGkIIYcdkQzPyv/zlL5ef0fp/B8MgY8KP/diPFcMJnZwhgmGDgYmRhLGFv5mGjFIMjNXYWX+eKFz92S1dBhR08cRhEDEj0vrIN954YzGQyZ/Ow7jBeGLGI6MVA6RwDCN0I/kbRJAHY4jNkhTSVEZlYFipHQHI2/uMoZfBSFqMsMrIiMMwVg1sfjbKuOu6pKGjwVDkR5cXXnhhiecevfzlLy/31Q/elYXxxntT2XQ+bNZ5lgeDjzQZdJQP6sO60K7XNfFn5GJoUl5pMejI32xV6XOVy5Ig7qt1preFcW57MZ0Z+eeff375T5J7abkU98sACYOa+6duGN3JF1lxn4VhUCOz0mdkg/om7+TBeXJff4BajbzqX/p+PGrdby75k5e6JE9kUXhpKZvz5ECdy0v6IFfq2fNjH/IkD/KyXI/znc5uSY98emZcl2db+uTWc0ce5cUY6Xo9b+REmp4tZbftyLgH2osNzcj/xje+UdoQa7IzIGvb3v72tzfnnXdeaXs8Y+rI/XEvuepFe+Mef+1rXyv1q76EE169qnvy4Fms9ah+1JV68dwLT9ZQ212uOtbOqFvbK17xitIWuR7XpX0TVx2RX3UmX+2gNtrz4Ly0+HkulJtMO3ZdyqKtIQ/qv8qjfWvRk6OtiWtxne6jdthzZJ+Mkmv3jUzzc4+47gm5VTbh3HP3Q1ta47tO9+y4444r90ka6s11e/bqQKfz1eiubXTec23Qw30VV37eKc5Jlyy5p9KUv3vlvnsufVHgnaEcwrmv8NxdfPHF5V67x8pe2xJ1JH/n5EEmlEUa7o33h3Pyqe8zssxPOPUp/xBC2NJkRn678Wszy4z8sFXwsqeMxYgatheUWYrp+jrQIYQQZjYMFeubkd8q3eNGZEYKRpFWfS1GEoYT1CUMGBdaPbf4MZLVYwaMVhcucegv/BnjGZylzzjBKNXqzMVgIz/GD/kw/MjTOcYVhhBpMkrKX/nlz8/GQGLjx/DBT9p0JoZZ1yoPeTK8KAvjCWMJIw4jHeOJNJxjWGLgUX6bfN0r70DXo5w2ZVYem3jylAY9jZFIXOHkXw3CXJuyOKeMygTGHftmYzonT3Gk45z6UGbXyV8a7pFwjNbuM3ZmPVF9MuK5J+ujDp64N+qTDOGoo44q99e9dB/VO9lQt+SGXNBz3EtpGHhynszWuifbjHHSEE9ZyK26FL4+V/JUF+REmZVHWOVxHc475xkjI8ojf7LEXx3b5K08/MgioyQZUl7pklXPlnjkQRnl45w0lZ+/MvJ3XTbxuLW8OyquzfPmXm/oWlyvNoKRV33WulWXdQCw1pf03C/1LZ764i+89qm2bTbxtX/Okx9xq2Ffm6BehRdO+lx1Lrw2iJ96U7/VmCy9Wmb1qP60D8qhnGSNHMiPnAjHX7tgX97CSE9ZxK/tLll1vdpXcrM1cY3KqW6Uz3V7FqrMK1O9ftfsfjt2D2s499u1u4fOS4ef8K6/pqFuybU8nbe5bveDv/jSka97wl8Yx9Kp6UpPncnL/bLJS3mEO/bYY4ufY2nY6n30PpGHuNJxXfJVPunLS3jX55w0LMEjfWk6p2zCuXbX5BpCCGFrkBn5mZEftjIUPYqdl3wI2wMzUyillM8QQgg7JhuakV+hfzO+gNFQeH72KdfVgM2vGrMqNS4jG+QprFnBYHiinAsnjH2Iw/BVlXZIW97OMdiZTWtmezVmWtrGPmNIRdg6s1VYdF+PPJVHfH4Mugyk1kB2XPOv18hPuZRTefjVMglj33np6WhIv6bNoCaMfVu9Z/aFEbbeW2FrPvXe1XD8nOsOW/O2r1ywv7MynRn53dT7XOvRvbJf75fz6tosW+na3OcaRtyaTq13m/P8dCZ9icIgx6/KjXMT5bi7HORN+ox0wtWyQV3bfLVB32KkZ9gTVtnoYsopD3G6r6nKkvhcYao8CKMMjp1HzXNHRlsynRn5k9F9n+o9rGlw63PsvmPiM+a8zbF07EtLnIltiPP12Ramhq3PNVcYcWu5uDUMV5m65YoflEsY4e07L1y9thof0pjYNm4rlE2ZGGsY2+E+uD/ovjYw5lTDDcSv8mur9dCNgQ5x9JldM8P4RGqe9T5vCOWSVm137NumEzeEEGYy+dltDPlhKxNDftjexJAfQgg7PtM15IPB0YxhywYwonRmy0xqSJ2uUaRV6seNZa1uP27E6Ya/MOtLT3nErWl1051ud7m68+7en8j6zm0sG5PWlsx3Z2RjDfkT2dD9JSuYjhyHmcGmGPL1qRiz63JDG/PMTadtmgp5MTQblNlVnnMDUZ5Xhvubb7651Jf772sBX0Ywug8NrV2mzb3xfHvvCOPLFf3ees8sL2RmvXvnWRXPrHVhxTcYa7DXEkj+d8HfvqWl5CON2pcR17uMa4Z9/UpG+ZTXu84senUmvoFim3QNMEjDrH1piEMuvJPIhXPi83M9ZDOEEGYiWVqn3fi1mWVpnbBVqB3oGFHD9oLiOpUBJ4QQwo6BSQGMH1MZkugbcN4yJHXdbT8PZMRo9dpiNLHGN0OJ9LwbGNOEZyjhtvrw+KxI64Z7dwjPeOOc8Iwuln6QJiMNHccMe+u/i2s2pTXga1jGGEYTefCvMyUdV6OM9c/5ic8wY21/OLZJS1jlEN9AhfebMoOBjyFJuaQnbVjf2dIIDFOMPjZlEpcBycCB66hlFU7aZlYrDz95uPfyVn7+7gWkobzSkLd74J4xfrXdh+IHrnSV3fIY4jjfPZN1Z8U9ZxBs+1kdn/Wjvt0j9959Itvus3p1jl5dB6uqHKgvdeD+MxqGmY3nR/1qO9ZnHFf3njfPijq3fr21zuvzRSakY7BIWHKjrSE3nkPyoI2qPze1kRdtAn/PozZCO8CVVn0+5acdIW9+DK6cnlftgDbRMy1PMljTFYa/tKRBbrUd05X9mYJ/ELg3jNn+SeKa3Qv3u/se22cY135rO90/bWlt79WR59+zyXVvpCE991W7oH7dJ1+w1HvPkO6ZFtb7S1mky9jOtRks8J6Tr/9ayFudiWPJG1/eGAQgB+RG2uRB3YsnTf4M/9LzDhNXfbom/uuTzRBC2F7sLEvrxJAfZiwUvBjyw/ZEo6oxjSE/hBB2XBiK1mfI/9SnPlXaecYHy9gw2JuJyOBEF2FY8T5g8KhL5rS6bjGoMILR2xk5+DG4+BGkfUYS5/3YTxzGGRvjtvAMIK2aXPKQlnwYZxhmGL0ZVhwztFPiGVNswjKkQbkcc+vyEeIzyFo+hYGGwYUupTzSZXBhYBKWQUY4ZWDgo3dJj9FIGEYd5ZefjaFGWoxt7qtrFUeYes3VqOfnmow6zkuPsUcc98t1G3Bwf5RHWRz7UaN77DqdUweMUa5JusK5f97N6lQ6OzMbY8hn4FVn7pf7LC5jnNm17qf7ql7Ur333luHv8ssvLwNVZIGBb6rnJMwM1LN63JAh/4tf/GJpF8wE93ySC/9M8ENk9a69IAtcxwz2njFxPFtXXXVVeb74a79qm0RWtIXiiuc5r+2D511bJbznlNwJo7yMwJ5jhn37nnfPvnjCaR/IpGNxtBuWcZLWjoTBEs+Re2cJqvqjWF+Fece4f+6xuhDOoDGjv3tef3huQNex+yQe47w15NWltDzb2krtIH+be6ndl4f40pGuNkBY7bP7Kc26/j3jvvTk634LR660OfJSBu9GZfV/Ae1QXefedUnfGvs2ZRTO9TFCpR0JIcxEskZ+ltYJWxnKnI4IRSSE7QGDCyU3g0khhLDjwmi5vqV1GJkpyxRnRqSqSDNaMC4xfDCQML4Lx8jhPD1lrc6+1uDKmFKNWQxe4jFQMZowvjFyi+M8YwjXJh/GMoYQRhAGM8YThheGlWqYlbf3EaNYNXIx/jtPV6oz4ZWDEUUcxhgGNYYa6VUDHuOOMiiXvBlglFWZXZt0xHvuc59bBjbkx4gv/ote9KJSBnH5MwQxAsvXe9M1Qjqu3bVISxz3mJFJ/gx5ZpK6d9JRZj+xZXQUTvmkpz7cp06Hp1yH8om7s7+fDWaQi+lMKHBPyB85c6/U1emnn14Gp9zbKnPVYEpm6DjqhcGOawCrdhzDzMQzb0CLEVW9ToXn2XPkWWNAB1kSl6wwxDP6ki3p8CMDZELank/tETkST5vm2TvxxBNLWyMdZRFGG6CNlBb50m4xLCuDdkM7QMa0xdo7zy7Z1iaTS+k658ep4nnOpa1N2Rnk0bXUZ9i1Yqr30YZg8HG/3bctgbTUifZcWxtCCDszWSM/hvywlYkhP2xvYsgPIYQdnw0Z8rcVrV5fDKxbyzDF4M4Qv6UMPBNhePNOZLgL24aNMeR3Y7CGvJspO5GtLSdh6zJdQ/7WhgFYm7axsjkZ0mGgJpchhBDC1mJnMeTv3N+jhhBCCCGEMANolf2tOrvUEg1b0zjLcBgj/o6BGdCTGfGxteUkzDzqMl9jYz+yAzDEw9c0ZuKj+nUzMjJSwjjXHb+/v79s00U63fEhTTP+MdGIL08DnxgaGipbZar9iazvXAghhLCjkjXyw4yFckeBy2zosL0wO8jnvVtitlEIIYTtg6/7LOuwPWevhrApbMwa+WHXgEGc4V3/aH1tmiXDhKXD1n9e2NceWhrHlxn2uc5bOsc6vFz6ryVyfM3EwM6obv18a+P7Ylr4tovfXHHFFaUMlu6RlsECg33C8hsdHS3nLa/jXw31/xl0a308fpbdEle64shPmeq/OywB5AtZS/3IUx6WOatLhNWloywRpuzKbMDA9Sonf2lbgkye4iqjazGIYDkq4aUVQghh52ZnWSM/M/JDCCGEEEIIIYSdhIsuuqgYucFIzXjtmAGbMZ2xnGGdId0PsQ0aMaQzLvghrfXtGRUMBjCQM+bbv+aaa4phXFo2YRnVGcwZ7KvRnMH80ksvLXHlY3a8fHwdIE/lMKAgH4MG0rXPaM+wLz9Gecd+xA1LCjHQ25RV2gzxwsnTz7ddhwEC6btGaVcjvx/4SkMZbI654oYQQgg7CobxJw7ll+OskR+2NxRBilzWyA/bi6yRH0IIOz4zZY38EDaWTV0jP+y8THeNfIZzbR5jPKO4mX8M275Osu/Hx9KyzBLjN8O3H1H7US2DvPi+BiF7vggxO55BXhizBZXBOfvCm0nv2KCBfOQrDz/U1Z+rP9+Vlp/YapeF6f55uPJoqw0MKLP0zMz3I10/7mZ0F98sRWUW1kxGYZXHtchfXsrv2RFHmd0LAxgGIywvZSBAvgYj/Hz3+OOP79y5EEIIOyv52W0M+WErE0N+2N7EkB9CCDs+MeSHHZUY8sNEpmvInwx9K3rtZOhzMYRvbJpbk7GxsXFD/NZA+q7bIIRBhRBCCDs3+dltCCGEEEIIIYQQZjRjY2PFiM+1dj2qa1a7c4z4zluGZmhoqMx6d1wZGVn3h7U1vtn6DO42s+m5zpkpbxkd6aCGh32DEtKsdO9DmK1lxIfrteRQjPghhBB2JAy5Txx2L8eZkR+2N5mRH7Y3mZEfQgg7PpmRH3ZUMiM/TGRTZuRbU76uc9/2z4sx3vI0ltix3AxDvPaRn2PpWvKGUd5s9SOOOKIY1W+99dYya198hn5hnBfeEjVk1fI78nn9619f1raXx8KFC8sSO9bElxb9WhwG/5qndAwoWBrHsfJYikfZGPhf+MIXlqV6QgghhE0lM/JDCCGEEEIIIYQwYzExyqx4A0OM6I794LX+LNYa9P39/eXHsGanm0XPgM4IzygPrgElAwkM8CZc2ZYsWVLW3a+DCgz+jPGM7gz7wjPKS7euxf/MM8+UgQCbdLkjIyNl4oy0nZc24/5tt91W4lv3PoQQQgiZkR9mMJmRH7Y3mZEfQgg7PpmRH3ZUMiM/TGRTZuSb4W62uxn2ZsY/9thjzWGHHVb8zapndJemZWzqj2sZ06vhnh7MEM/gztVHY7C/6aabyiDA0UcfXQYFpGMAoBrulU++4o+NrV2PnkHez2blbTa+NOVhMEAYSEu5zMg3mOA8fdwAQQghhLCpZEZ+CCGEEEIIIYQQZiyM4gzuz33uc8sEqZNPPrkY6w844IDiMpgbGGCI33///YvRXHjnuPwHBgZKOoz7jO6M/meeeWZz7LHHltn8jutSOwzu0hDPQJT0xZP2cccdV85bbochX1r8nRfe5pww4tUyxIgfQgghrCWG/BBCCCGEEEIIIUwbxv3pfhVQMVs/hBBCCJtO3qQhhBBCCCGEEEIIIYQQwgwmhvwQQgghhBBCCCGEEEIIYQYTQ34IIYQQQgghhBBCCCGEMIOJIT+EEEIIIYQQQgghhBBCmMHEkB9CCCGEEEIIIYQQQgghzGBiyA8hhBBCCCGEEEIIIYQQZjAx5IcQQgghhBBCCCGEEEIIM5gY8kMIIYQQQgghhBBCCCGEGUxPZ+umHJ999tnFXbp0ac+yZct6BwcHe4aGhnoOPPDA4trWrFnTO3/+fOd658yZ09v69Q4PD5dtYGCgr7+///9n7z3A80qu++6Dt6D3QoIFYO9tSe5ye9Huqhery3KSz0Wf5ZbYsf3YeZIvsR/ZjhP5S3Gcz4kVx4pt2bKllbRabedWcnfZe+9gJ0EQvb/1O79zMdiXLwESXIIkAM4fvHxvmTt37twzM2f+c+ZMGGzduvU4cXlMXKTTadtGE729vdLW1iYqcwNnPDxEQqHrjz+mUqmBvZuD1n9SUFAgJSUlA2c8PDw8PMYbTp48KfX19SNqPzw8bgVycnJscxipnnL+/HmpqqqSvLy8gTMedwsyZSZTXrT/Lc3NzdY/ypQpDw8PDw+P24HxrE+vWrXqG+l0OqnvkMj81Uv82sb+wHnb55djt6+/cRc2HA4ntI1ORiKRJOAcvxwnEgl+U/F43H5jsVgyGo2mVKdL6XG6ra0tXVBQkGpsbEzn5+encnNzOU4XFxcbsTpp0iT7feaZZ/i9gmwN65atAdjxkiVL7Le7uzunp6cnR9OSownMKSkpsV82zunD7FcTMnieTV9I3zXA17/+9d8gLo+JDRXagb2bB4qpCrwpq5Cooxm3x/iGVikDe8ND66CBvQ8OZFDrP9G6zTrQXgY9PDw8xh+oyzEKKC0t9aSXxx0Dspcpf+gUI9Erurq6pLCw0HQRr4fcXciUGafXcqz9bjN20o6+nfPw8PDw8LidGAkfM1bxrW99a53+pLU9pWEd/NWN38Ft4Pywx27TvEipfpbWX34sHnesbfcVv9p+p8PhcBoSX4+lr69PotFoeoBz4hrHkpubq9GIFBUV2e+BAwfsNxPeNMnDw8PDw8PDw8PDw8PDw8PDw8PDw8NjDMMT+R4eHh4eHh4eHh4eHh4eHh4eHh4eHh5jGJ7I9/Dw8PDw8PDw8PDw8PDw8PDw8PDw8BjD8ES+h4eHh4eHh4eHh4eHh4eHh4eHh4eHxxiGJ/I9PDw8PDw8PDw8PDw8PDw8PDw8PDw8xjA8ke/h4eHh4eHh4eHh4eHh4eHh4eHh4eExhuGJfA8PDw8PDw8PDw8PDw8PDw8PDw8PD48xDE/ke3h4eHh4eHh4eHh4eHh4eHh4eHh4eIxheCLfw8PDw8PDw8PDw8PDw8PDw8PDw8PDYwzDE/keHh4eHh4eHh4eHh4eHh4eHh4eHh4eYxieyPfw8PDw8PDw8PDw8PDw8PDw8PDw8PAYw/BEvoeHh4eHh4eHh4eHh4eHh4eHh4eHh8cYhifyPTw8PDw8PDw8PDw8PDw8PDw8PDw8PMYwPJHv4eHh4eHh4eHh4eHh4eHh4eHh4eHhMYbhiXwPDw8PDw8PDw8PDw8PDw8PDw8PDw+PMQxP5Ht4eHh4eHh4eNzVyMlRpVi1Yn5vN9KpgZ0BhMM5lo5U1vnhcLPp5n4ZuN/2szDUuZHiTuWph4eHh4eHh4eHx0TETajmHh4eHh4eHh4eHuMbEM29PSnZsqFHdm7ruYJ4hoiGWM/eMs87DF4LX33PcPGw7dreI+n0+9fPnIpJX29Kdu/o0fuuDs8GXJwnjvXbPZnX3TXA+2Ree38Lzh8+2CeXLsQlkRDZtrlH+vvTg9fY9u7ula6u5ODxjWwH9/VJU2PC9nmX7Hzg2MPDw8PDw8PDw8NjZFA13dngDMKOlyxZYr/d3d05PT09OclkMieVSuWUlJTYLxvncnNz7TcSiQyeZwuHwyGHr3/9679BXB4TG2l6oaOEHO11xuNx7Uz2i8rcwFkPD4iL6/f6R0MWkUGt/0TrNsnLyxs46+Hh4eExnkBd3tbWJmVlZbY/FGhW2tuScv5sTHWOsEyemmvEOsTzhXNx+dH3WqW5KWHk+ovPtcvJE/1SXhGRtS90yKmTMZk5O9es5994pUN2be+VosKQrH25Uy7rPd1dKXld9yPRkDQc65dXnu+Q0rKwnGrol5ef69Cnp+3Zvb1peeWFdkklRf72L5ulvy8tkXCOXLqY0HvapVDjJO63X++URCIt0+py5ezpuLyk6dn8XrdMr8+VrZu65dCBPntuXl5ItmwIzne0a7qfbbd3adNnvaLpbrwQtzQR97o3uuSe1YX67LRsXN8ty1cVyOmTQdw86z09d+Rgv71/V2dSnv9Ru8T60zaAQNyH9ZnNl5Ny7kxM1r/ZJT1dSenU937xx22yf0+fxd3WmpCG4/16f0r27+2VrRt7ZPvmHpk8JSolpSHL74kMZC9T/kaqp3R1dem3LzRdxOPuQqbMOHnhWPvdWl/0SnFx8RUy5eHh4eHhcTswEj5mrOJb3/rWOv1Ja/vJvNfBX934HdwGzg977DbNi5S20Wn95cficcepVOqKX22/0+FwOK06HcfS19cn0Wg0PcA5cY1jyc3N1WhEioqK7PfAgQP2mwlvB+Ph4eHh4eHh4XHXAhK+sjoijz1dIstWFppFC1b1cGSvvdIpjz9VIhcvxo2kXrg4X7q70vK9v22R1paEHDvcb0R8e2tSj5Ny5mTMLNghynPzcoy0Vr1dz/fL6VMxeepjJfKDf2g1YvyzXyk3Yh3i/eL5uMUBOX7PvYUytS4qB/f32aDBhz5SIm+u7ZSzZ2KyfGWBnDjeb6T7+re65P6Hi6SoOKydgZT09qbkkN5zWtPw3vou6elJa2cgJBc07p6elBzQtGD9v+yefDu39sV2u39SbUQKi0L2Hnma5tzcsJw42i8dHSkj7BlQeOzJEhsw2LKxWz76yVKLB2v7Dfqcze92yz595zc0jbzr2290yaZ3u+Tpj5caQV9dEzGyH4v/o0f69d37pKIyLDNm58quHb2ejPTw8PC4Bq7HmVGFXqsazbw+XFjOMUvKXR8qDLiRtBB2qHiuFf/N4lbG7eHh4TFW4Il8Dw8PDw+PcQjIr8zNw8Pj5gBpvXdXrxw51CfHD/fLof292NUYCR3SIhaNilnCU9zKK8NGfq9YVSDV1REjuHHPo8HN4r6qJiz79/TKpMlR6exMmkV/f1/KCPDZc3PNUn/vjl7p601LLJaWI4f7JJEUKSkNGyGP9XyVxtvXl5Z9u/sszsm1USPGJ9dG7Dfen7JnQJ4f3Nsn7a0pqaiKyIxZUTm0r08eeKTIwkG0JxNpiURzJBLJsTTl5mq9ob0A7scOqUjfpbU1KUUlQdcAQidPw+zR/KidGsEkWCqrwhqP2MyA+lmBtdCkyRHp1fdasChf8yEsUY3/oceLzT0PborII62tpEvfFwKfjQy8eCEupxpiMn9hnqXRw8PDwyMAbUymWkf9ST2ZSbQ712Tsx+NpaytwiZZ5jVFp9rnOLC/2Gbju6U7ZdY6BxaHtELOmcIX23ttd1g5x3W2EIQ3MqnL3ZcbhXMoxi4uBY/YZqHbhLT0KF4b2kjhdHJn7mfGC7POEzTxPW2b36z7tKW25O8dv5r2E8fDw8Bjv8K51PEYNwUyS0QGklHet4zEUtEoZ2BseoyGLyKB3reMxVuHqSKbkMc2efabjsY2kjHh43C2grFzPtc4gtOnAxU1+fkii0RyJ5oZk0bJ8Iz3uf7hYZs7JM+vy2mlRWbykQMtajsyZlyeFxWEj9gsKQ7Ly3kIj2rn3wUeKJBzJkaka/pEnSiS/ICSl5WF5/MkSKSwKG5k+b2G+zJ2fZ6T97Ln5smR5gRHm0/Qe9svKQ0bu3/dgkcaTq9ciMnV6VOMKmyU9rd3q+4tklqatvJKBhUI5eSJuLnWw3qc9rKiMmAX8qvuKZLaml2cxIDFvfr4kU8H95RVB+utm5Eqevj/neRbPnTErT0rKwjJf04ornHBE5IGHi6R+Zp7M0bSTTn4n1Wq69F6OGXTg/VbfV2gzBmo1rRAoS/XapcaEDSbgwmf23LwRL+o7noHsZcrfSPWUG3Gtcz3xvh0gDZCJHjePTJlx8sIxbb53rXNjIJ/QjcZDfqHCQUQzsAvxDCn+5qudMmVq1AaEc/NCVmeePxezhdILtF1pOBaT99Z1yuTJuXa98WLC4uBa06WEbFjfbe1bKBySfbt65ML5hLmHYzYY9TP58uz3WuWyhqXePnyw357HTDDSs/6tTpm3IF/b0oS89FyHtT3FxSHpaE9K8+WEtVHNTZD2STl7ikHafqnQ+HHRRltKG8rgLm0M7uJ2beu1e2mHOjtSmt64DSa3636Lxqfdf+nuSppLOUA6GcxgsAJ3cPUz9T01nXa+MxWQV/ofgxFbN3ZbGzNlaq7lAcQ+gxOpVI4NLp87E7SPHh4eHxzjua85UVzrUO9lt2h2/KUvfcl+L126lNPU1BSKxWI58Xg8Z8qUKfbL1t/fH1IlgmuhfNXc9VwokUjYpgkIa2I0LeHw1q1bjxOXx8QFMqsCOnB080Ch6Onpkfb2dlGZGxVi1mNigArueqCTc7NABrX+E63bpLQU9wBeBj3GBpBNsGfPHiMoa2trBwecIH1QDKZOnWqKAHBKAXW0l2OPuw2Ul5MnT0pdXd2IOh4QJ5mgxHCGskNcqotrPDmDxwCLeEjqK+98/17g7svez0ZmvNn7mUDlyk4rwOofK3pIfAgUbssON9Tz7R0Gsic77jRvMvB4l57sfMiMMzPdwMUdnMPqM2ZECunj2t0AZC8zT0ZaH1+4cEGqqqqsfr9e+Hg8+MX2gG/I47iFvOeXzZ0b6hew7345584Dzrm4OM8zQGYYZpjs35OUxcsjqj8NHQ9w5zP39ceISTvPPXZVf3mmniecg7sXdY9ZIlHt81ocWfECd97tg8y4xioyZcbptRxj5NTc3Gxtf6ZMeVwJlzeUG/Kvo6PDjB4qKytNLyJ/R1IGbyeoQ3HLtvGdLnP39uiHSozkfu3FDhssxgUbJDrv1tmRlLbWpHz9X9TItk3d5vqsoDBHHn2yxGZ7dXYlbbD27NmYnD4Rk1VrCqWlJWFE+9IVBdLeljBS/ROfLTNi/JvfuCgPPsLgkNjMtMXLCmTXjh6Zoddw6/YrvzHJXL29+oKmpSIsM+fkyvmzcenpSsmcBXly9FCfxUM91NaSlLoZURtQYNbWmdMs4J6WRUvzbS2V40f75Z/8fKVU1UTl5R+3S09vSqbXRfU5celoS0qN3sNgw6/+Zo19o7fWdmr8/bJwSZ7s3NYrv/TrNUbyv7G2w9zU1Wl7QnpwbdfdQ2UhNkjc0hwMaDBAsUTfeceWbht0/vhnysfct/fwGE8YCR8zVrFq1apvaPlPahuQyPzVS/zaxv7Aedvnl2O3r79xF1bzIqE6XVL74trUqFar5/jlOJFI8JvStsd+Y7FYUvvkKdXpUnqc1n58uqCgINXY2JjOz89P5ebmcpwuLi62CmrSpEn2+8wzz/B7RaU1oLJ7eHh4eHh4jAfQ+bx8+bJ1TOvr661Trw29dU6nT59upM+pU6ds9H7nzl2yf/9+Oya87/R7eFwbEMuZG77o7TcVXKPvn3nMBly4zC3znLsvez97y7yW+Qz2MzfgrmVu0dwcue+BokESf6hwQz0fDBc3C/C6a+6ci8Ody4wzO37w/r1iswfoA7prHh8MVOfkI9u5syn522/1y09+EJMjh3BlweySgHg/vD8pF88HbixYp4BfyDa+CeSaO8balf1330rI+jfi0tkeWLMSrr8vIL/37GRNh5Ts3JYcHDjgl5ksPKunR+Tk8ZR0daTl1efjsnNrYvC5xMH3x9qW9MVjwb3s42rjmKZ79/aEHdNd7e1JW5htGxNmaUs62ACuoo4cSMqWDQk5fDBpaesbeF/u4Vk2GKBbT7e+l55nnzhJC+E9Ji7QdRL6oTs7O+XIkSOydetW2bFjhzQ0nLSB3bNnz5qxWFoFYSzpRSQF124nG1SIdb+lGbIeC/W07N7RazOrWGAc12Qf+kiplJaFhMk6WN1/9FOlUjslKvt399p7sWbLrh09tqYJrtBOnojJvfcXybwFeea6DaK8rJzCpuVKy+WiJflSVRPRuOLmVicWS8ljHyo2q/mnPlpilvu4Q8N12pIV+fLOm11mVW/u2LQ8lZZHNE81befjsntnj9TNZNH4tNYZWjAVuHZjXZUnPlwiNZMiUl0TleNH+m2W2sMaJ+u7TJkWlbmaPgYaqqo0bRrvaX1me1uwBgz1BYMbVdVRWysG0h9rfwY5GMzASr+0NCyzZufKts3dNjACcU9eMsiN67kP6fMtYg8PD49xDGrv7NbLjr1rHY8bBY31aAGlCqsJ71rHIxtapQzsDY/RkEVk0LvW8RhrQC6ZrUQnFMK+oqLCZo3QIWWafUFBgblhgNhnNhNWyITBeg/r/erq6lGtqz08xjooMyN1rTOUhTtw56+6PeMYojCbG3DhM+Pl3BXxDOxzjubNCFE9cMTjIDL2r4ojCzdaxDPju1a8hmGuu/t4NqSsWednhM18xt1YBSF7mfI30np4ONc6RMVixts2JqXxYkpam9MydXpI7nsoIhvXJ6StFRcTCWnX380bkto25Ej9zJC8vTZuVrvbNyel5XJKNrydlFhMZNM7cQmrzNVMRvD0d1JI3nw1iOfw/pTs3QlhlpZN7ybMAn775oQsWhqSnq60vPJCTI4eSJn4nz+bkqbGtJSU5ci0uhxbK6K4GLcdMTl0IClHDibl0P6ELaC8QdN5VI953maN98C+hN4TlslTQjYgce5cWjo6goEFwlM2Lui50w0p2bM9KQf2puxdELVjh5Oye1tS+vVd3n4tboTepNqQ3cv5zs60nD3FGhVJObgvKXMXQIC+/z3GIjJlxskLxwzKe9c6w4M8IX/Qi9CV3n33XZWlc3Lo0CE5ffq07aMToRvh1gAXBm4G41gA66FMnZ4rlZURWfdGYIkO+Q2ZT1l54OFiLWMMkvUYgb10eZFZw89flG+uZliMnQE43KBN03g2vtNt1utz5udrOesyt2nL7imwxdVx04Y7uN7ulN0biYaM8J8yNXC/xsLpxSUhs2ifv6hAn9MrB/b3Cf72SRMW/TyH9GKdT5mqmRw163/WaQlrpcKaMC0tSbn3/kJz27ZF05BXEJKV91Gv5Rjhjisc0s/AAt8Pi38G3Fh75diRfk1Hv7mWYxH4k8f7bcYZ+XLmVFyfH5F7Vgd5wALrTZeSFteGdV3yua9U2CyCjo7AjQ8DHqVlwSDC3dgOeXiMFkbCx4xVeNc63rWORwaQWRXQgaObB424d63jMRSo4K4HOjk3C2TQu9bxGEtAJpFtOqMMLk2ePNnqXSerM2bMsHBXEz6Bb1is0lAOZs2aNSplxMNjPAD5v55rHQ1ilsIsaov1HtbswAXfv6fP3ATgX/fhJ4rtOq4+EvHAAl5jkE3vdsmipQVSWBQsKEuckCmExdJwWl3UCATC4WsegpNnYpUO6b19S7cR/lgffvynyrSMBwsUWlr0H88K4s0x/8O4VIDM4F7CkVY2p4rxfKwsabloNl2Rp3qwfb2AhSTPv9QYl7On42bJ/+7bnbJwcYGlj2aPePh1Gy50cnNDRtazT5ogWHFZgKUkBNPFCwlZsjzfnsMzmJmAf+M9O3psrQDuu9uA7PHtHKi7R6JXDOdah2+KC5t1byRk9ZqwdHakZe4CSDCRda9jCCNG3ENyd+i1pz8WlbKKHHnh2bhZpU+dhp/ttBw9nJKS0hwpr8yRpz4akFvE3dGelpd/EtfvGJaN6+MyRcMXFYdMpmfMwgd3Sh5/Kld270jYgEDt1JB+36RMmR6SA5quxz8ckUVLAn2tWa+vez0h0/Qa8V/W4/Nn0lI7JcfWWzh9MiWf/XKubNukMr0qrM/KkZd/nLDBrBmzQ9LWEixeWa/7WO1fOJeSj30mKvt2JY3sa27SSHM0Pk1DVyd+uHPk43qd5775SkIeezoqa1+IWVl5Ut9xw7q4fOZLuVYWRvAJ7hgyZca12Rx71zrDg/yAGKEP2djYKD/5yU/MsIHzlCHIkpaWFpk2bZrp9/fdd5/9MijCgNlY0PWRewZzSQvyTZ1Oe0Cdy0ZZWPtSh/RpOX7wUdY9wfJ94GYF+7QJDGYBymzmPm0KbQXx5GiZcN0qJ0ouDMc8jzqeGTDmPo5zcU2f3sN5rNxJL20X95FOQFnb9F6XzaShXcCafvC5A+khne4ZgOvuPdw1d+zaQs65tABrFwfOG/RXj+SNVzskV88/9lSJ3Us7R9ooRrTdpN/Dw+ODYyR8zFjFRHGtwxdwVZ+DHXuLfI8bhQrtwN7NA4VLBd5b5HtcBa1SBvaGx2jIIjLoLfI9xhKQfTqmqgRIeXm5ndP21jZth+06cgtZPxSwPjt//rzVrb5e9bhbQJm4nkU+JMSF83H5279sNtcFLMQHeT9rTq5ZQf6vP7sshUUh2bqxR86ejmmbEJKD+/rNkrC4JGyLyb78fLstTLvhnW5pbU7a4npbNnQbEfPDf2gzlwfVkyLy4rPtcvRIvxEUuD54+/UuIxqOH45ZfCxAiHVhw/E+W2iQhfxwP4D/YxYFZOHZ3du75b11Xba4IITIm691ytlTMWFRxM72lJw5HZdjh/tlo97D4rxYQRJ+9/Zee5/N73abH/2SUk3v+i7ZpMeFhWFbCPe1lzsCy85LCTlxrF92bO219DUc7zffyts290hEew+kB2tN0kPYnRquuztllpX4TCb+7RqWRRDNf7PmBZaiwQK8Axl/FwHZy5S/keopwy52q1FBpBUUYMGbY9bmbS0pc7Gz8t5o4E5Gg81bGNZvImblDmEPQd9yOS1zFoTl0P6kkWCVVTlmgQ+5T7JQsxovBvdj1Y5bnorKkNTNDMuZkykNHzKr+/mLwiqbSZUT3HCkLX7iZgDpnnsjmu6AYLukcRnR1y9SNyNHmi6lLV7cZFRVh6RY77twPq3lJiX3PhCRjjbI+ZSltawcXYz8Ezl/JmXucxgsOH8ubQtjlleENC5IRDECn3TyLrX6vpB2x4+kpKU5rWU5ZFbEDBpg6LZ4WdgI0rGMTJlx8sIx7b23yB8e1PfoOA0NDbJ06VJ54IEHZN68eTJnzlxZsWK5uSFkYBcDCNzvYASBvg+hPybyUz81n5uN5FAe3T6Lp0No44JmweI8+x1KjjNngQ21b+Vc94fqUmWGt5lVCgh/B+4hLe/HEVzLvI9rLKpO+wC45rI2MxzgfjbuGQ6Z91yRlqy4XN7VTIraoDz7lm8azu3b7DkPD4+bwkj4mLGKiWKR74l8j1FDILejAxQpT+R7DAWtUgb2hsdoyCIy6Il8j7EEZBJLskuXmqSwsMAIfMoDnU/qS65B1nOOsA6UBxZ5gwxidsmZM2ekpqbmijAeHhMVyPn1iHxIBEh1LPk6O5Mya3aeuQwoKY2oEh2S9rakESbRaMjcCLy3rtsW7IMERW2eMjVqVvf5BaHA97BuWCDif3xSbdSIg0eeKLZ4INnx/wvRTkt1/Eif+f8tKQ5JRXVEHni02MjvA/v6bOG+8+cCYnzpikIj1peuyJddO3otjvP6nH17euVRjfvE8ZicONovU6ZHLRzXZs7OtfuwuOfagb0Bkc+74Gf5oKZ54ZIC6e5MyfxFeVpHhOTIoX5ZdV+hXG5ikKHTyPpLF+M2IIA/ZNwcYC166kTMiBoWFOR5L/+kw3ws9/akzMUCgwRY7rNoInlQrO/HIMXMOQG5crcB2cuul0eCYYl8vR3ienp9QFxD1EOwL1sRNst0jqv1/PR6LNxDUqB9QYj/qpqQzJ2v90wO7luwOGwkN8S6M7AjafkFORYPJP8kDTu1LohnksYLSV6j4RlEgBivnxGW5asiMn9hWCqrc2yh2/Ly4F15S8KRHgj38sqQTKvDzUfgcmfWXH2+btq9lCUrInaOZzOzBbJ9xiwGynJk9rwgzQuXhjX9ei/h9Tl1M0Iq52G9liNTpxE+eG+yOjcvx2YB2DX9PXc6pfIv9s6801iXw0yZcfLCsSfyhwZ5Qb8RfQhdh7WBqPfRkSBGyCqu415n9+7dZo3PPVjsYyBBmKvK2R2CI76HklHOM7BcUDiywSi6TSOVdeJmy4Y7P9Q1B65lPstZ4A+F7LDgRtIJrpWWPK1DrnXdw8Pj5jASPmasYqIQ+eP3C3h4eHh4eNxloJM5aVKN+brH9RgNP4oAnVE6r1zHwiwTXIPkhxDiOoOjnPPw8HgfuAjAf25uFGt7XDOkzE8wv91dSblwLiFz5gUW+rjJqayOSGVVxPz+4lsYI8G9O3pt2j8LBnINv7yQ6K3NwYKfnXpcXq5Kem7gDmf/nl7JLwhLfr6WYY2APxYB5Hkb1wcL9zGQUFwaNuIGi3/KLpb5dfV5RlRWVERk1/ZgMUGzsH+nO3gPvXfOvMDCdI+mi4EJ0gRPVTs1atbSxH34YJ+cPROz57a3Bxb+WPAXa1xY/K9eU6j1TMrSzMACZD8DFtPrc20gALKG593/cJGcPRu3hQdxl4I/Y+7B3zODAft295k/Zo/RA91FrM7ZINwhtSHBOS6vCMhrwD7fm/D0DYuKA5KL6xDvhXqMvUImicZxfn5wzhH6oHoS8hH8cm3F6rAsWxm2Z+CuwsU5aPWqYXBpQXxFJbidEiPhGTSom0l6IfzEyH3If+IkbRxjjU88VRqfG1hg9kFEwzOAwT5ph0+YXBvSckfacuwd7dEaFy6DuI9BjxWrI/LYU1EbICCPPCYW4E9wqQMJguuhhQsXyuzZs83AAWKfmYwYMTz++OPycz/3c+aeEMMGiBTWF0JHGguAxMcnPDOdjNBX+UbG2Xe/gEFn3GO585QbF57yZef1HAvj4s0sOxybgztm8JlFrzPD8os7LmaHMasl816uu/TRpjETzV2n/DFI7sLySx3BPQx00264Z7AxAO7S7TZ3Hxth3D7v3aXvP9Q1wGAzz84+7+Hh4TFRQK2WXbPZsfeR73EjQHnCOnS0QMfT+8j3GAqMVF4PWCvdLJBB7yPfY6wAud+8ebO88847smbNGuukUkcio1icffKTn7T6ko4qVnrIrZNZiP6LFy+aj/wHH3xQTpw4IfPnz/cy7XFXgLr8ej7yAb52GxsT5lrn/Jm41EyO2D7jYo0X4kaaYymPxTmkuiMdWEwQtyL9/RD+WPymjeRva4GkyBEW4oNEn6TxoSbhlxgyA5+9zALAShrf44TlXEVF2EgXrNohK3gmyeb5pJHj5ssJWxQQYgXi/czpmEyvC/wkYz1fqtcgLggLccoAAi5vOCZ8QUFI+jS9LCAKyQM5j9U8vop5PxYahJTBah8CledCxvLO+YVhKSrK0TzRd6qNWDqYacBgBBb75AmDEjwjFtNn6PuRf5D6PIPn341VjxtwdUBnHkkdPJyPfAeiHCoa96jrPkLD6ecyfBA1PvP59kw2PR7Bq912uOKf+Z7D5d9YQKbMOL2WY6zKvY/8ocHsK/IKgwX0oGv1TclfDB8OHz5sPvMxhsBI4k7qRtTbDK4++702+en/q0L6elPCIq20MdSv1M2N2p7g9u0H322TT3621NoXBmcZVGX9lCnTcqWvD5dSCamrz5Xd23tk1tw8u59wDNQyuEq7M1nrZMr/KQZptV07os8u1XaCQVfc1hCGwdmN73TZwPTK1YXmTo56vXZqxNogciuqx7RDtIHMUOOeGbNz5ZyeY+YaM9kajvVbG0S7wSK1pG/J8gL53ndabBZYsx7PX5BvA8rFxWFrU2fNybN3YnZXaTkuvYJ2lbK8bUuPPPxokaWLd27RdpH2C5c6DBKQBmafcQ/5yGwwVwd4eHjcHEbCx4xVTBQf+bT+2RqAHXsi3+NGoAJ7TWXpRoFi6ol8j6EwkoZD686BvQ8OZNAT+R5jBXQ4IeD3798v27ZtM4uyF198UR566CG7hrxCVOLrFWJf298rZJb6ef369UbkQ+ivWLFiVOtsD4+xCsrGSIh8+DAI6HQqWHw20GuCa7YwnhYnK1Jox/prYfQPf+B2L+f51b+UBrRz7Gt8WCy6cITh/uCe4IB4XdTumc6C0JXjgR/75TUIx29wHDwHuLQDFxePyTxvP8Gjg/P6l/keg+89ED/n3HOIg9vdYoyE5f04STgHe8YAuA+QxszzdxNcPe1A/eu+x7VwLSKfvE9qdzJ3wPsfl+0RuvX3aS8zljbr9yuuDew7EAcL5aJaYeFu31PDEcZ9f3dvZhwg85h9FsFkIItBG9zpcA64ONnYB5nxgCviJqz+DBUWWbOwup+ZVhfGPTPzOPsa4Bz3k+bogAX/UOHuJDJlxum1HHsif2jQP9i0aZPpQIsWLdLvOyBACld2yK/sdmDPnj02ALBgwQKz2B9JubxVoN5nbZTTDf02SBrNhUjHlVJaqieFbYAXEp1ZUZDTEOOd7UkrFwymkvQZs3JtMIBBU8h56t/WloQN2DJYzL3Ecfxov/zz355k7tnefbtLVq4qlAZ9bm93Su65t9DWZnn0Q8V2jYFd2ggGEiDcGeT9xX9ebUQ9BD6W+gzoMoh8+kRM5szPlUg0JEc1HTlat0Dun9O0L7unQB56tFjfsUOmTosauf5nf3JJHni4SJqaEjbbjMXRCzStpHnh4nw51RCz92fggHTwLFy1FZfo+2qeMYNuwaJ8Sxfk/dz5eXKSe3SfgQxmLjCY/fTHSmXuAhZhHyMF3MNjHGMkfMxYxUQh8q9syTw8PDw8PDzGHFQpsAGle+65R7785S/LnDlz5NOf/rQ88cQT8pnPfEYeeeQRmxaOL3w6+dkkvSoLNsWc86pMDJz18PBwgACBQOCXjr4jCQEEBsdcSw/8WpiAWwvu1fMcc54wg/sW7/vh3P2E5zr8nMXNPbo5BNeCdNh17tUNuHDuvHuO23f3OGSft7AD1+181ns4uLDu18XBvW4fZL6T2+wZAxth2dj3GB3Qh268kJLtmxP2/VhIGH6yr0+ktzstne1pW6RWmwNh4Vuu9fbqfg/f4/04jh9OypuvxuWttQnZuztpMt/ZGXyofbuScuYUa7EwKKDlQc/xyzN4HiBOFqDlm2/dGLeFb08cTcqOrUk51ZCSPTtZiB23GWk752QFAp2tS+MhTkCcpPfC2bTs2k4/ORhMIM0sZtvelpatGxK26O2OrYG7qq6OQA5p1ogLcJ64OMc19llolxcI5NGCycVzKdm1LWHHnO/W9+YeV+49xhfQb/bu3Wv6DkAngqBva2vXbxx8dPSj48ePm498jCIaGxtNN8JwjPBjY2AkLTW1UentS8k9qwtsNhVjoTNm5qksp8yKPi83x9y44e4MV24Q5VjRY51+8ULCFlfHtRrkOhvW+li9Y0HfdClplvDMOON1IcULC0J6Pm7xQbhjuQ+Rjtu4ttakEejMCjh1KnCvNnNWrt1LOrdv6TECvqg4LLn6nOrJEUvz3l09g2ljPRWs6nEzR0FsOBaT8sqIWdDXzci1wXJmDDBzjZlbi5bl28DE/r29RurPmB21mQf32IyAkJzWdHAvxD3bxfNxWby0QGr0eYcPqg6seTN7Tq6R+7wr67MweEHeenh4eEwEMJSS3WLZsV/s1uNGAdE0WkCRgmxC4fKL3XpkQquUgb3hMRqyiAz6xW49xgqQR/y4svgN/l6bmppsCjgWeZQJFsPB3yudUgh/fMRmd0g5t3PnTrM4q6ysHNU628NjrIJyAJlzrcVuHbicueEvmM5/9nmKDhvNEcfuXmueOLZrwX1BuCCQuz/zHvebuUFqcJ/ta5zsQ0jadZ6p9wQW+IGLAc4Dd7/bd88F7l7HY2D5iZUjv5mGVZn3e4wekL1M+Rtp/Qu5ONRit3x3Fpq9eD4tDcdTsndXUnXmtGxclzDCu6Mdf9Vp2bszKdu3JM01EyT47h0JI7XrZyIMIru2pWTW3JAsXBK26y2X07Jza1KamyDeE8Kis/ijf2ttXMJaFrZvSUhrc1o2vxM8781X4uZzv6IyZPcxE+DSxZSR+GdPp6W9JW2L2G56Jy7792Axq2UqmmNxHzqQlD3bk3L2jKZX07xzW1K2bIhL86W0LUzLorln9fedN+NyaF9S2lrTek9KLl1I2yBGR7vIDk1PcxPrUyTs3NwFYTmwNynvvZ2Qc2dStm3bmJCGEylb5Pak/p48npTL+oxjRzQuzSPy6sK5lMaVlNOa7tnzcE1l2XNHkSkzTl44hpT2i91eCfQg6vktW7aY68DW1lZ59913bWZtQ8NJzb+U6U67du2SY8eODZL8uB3EJWEsFpOjR4+akUR2Wbud4HviOm16Pe5p0mZtvmxlgZSVR8yavLU5abJQPyNXaiZHjdQmHIuONzcl7FrNpKjUTouY6zRcomHZX1HFui1Rs8anHdjyXrdUazhI7qOH+ozgh+zGjQ8LqUPMY3WPi5r6map3VrKgdNSs6LFuh3zH8j8/H8v+mNz7QKE+K6hTGEwoLY3InHl5NgiA2zfqCtahYYCA9VUYNJi3MN/CY3HPQANruGB1H+yHrZ7AdR3Pm6TPJi1nTsXM7R3Ppz5qawnIf9LNQAau8Egv5D6zAxjQwL0dLu1wL5Q7kEYPD4+bw0j4mLGKibLYLa1/tgZgx961jseNAJlVAR04unmgyHjXOh5DgQrueqCTc7NABr1rHY+xAuSRxh63OAxyQsbjboGBTifv/OLrFesyBp+4xwFlgfqUTizW+5nXPDwmMpD1kbjW4RIkAH7iISd+8N1WIzqe+HCJJGJpSSQh9QmZI+fPxsx6cNGSgiB8QUjLZcr8xh8/1i+PfahU3n69w/wYz5ydJ5ve6zZfvVgm0lfIJPn5zbRWNzL2nS558iMlcqohLk2NcXnwUdwbdJp/YkiYwqKw7N3dI8X6O60e3/j4sA9cLUBuQITgX/jY4X6zpMSKkXRiUcm7kSfvres0y81PfpYBDgb6cJUTpIFjwgcWjB6jAWQvs95FZx6JXjGcax1UoQ3rE3JoPyS9SGlJSCqqc+TypZR+48Byvl+3pcvDcvoUhH9K7n8kKmdP4Sc7JEv0PHjx2ZisWhMxa3bI+e7utC2aS5xYqH/ic4Hv7XWvJ6ThWFKW3hM2sv/iBZ4TLCT7+NMRaW1Jy6vPx8ydR0lZjsyZH5YTR5KyZEVYZT9kaS0sFDl3Jm2EOhb3lLnV90dk83sJcxH09Ceisv6NuJGPizV9s+eG5Ad/H7PeNe/L2gwz57A+BYRgSF57KS5z5oUlqd2P9raU/JOfz7My/Nff6pfaKRgEBVbLax6O2IDBRz8TlW2bErbuQ3NTSto0zcxo+PlfydPympDpdSEt5yIf/RSd6KB83klkyoxr5zn2rnWuBnnV2dkpf/3Xf206DmWGfuTBgwet7mfhW2eU09DQIOvWrZOZM2fiYsEGRDZu3CinT5+RL37xCzZwNpp92g8CPivyRz1MeeDzc45kMXMMktshqNeDNUkIE4mEBgZ6rwTXWLj85ec6VJ9MyaNPFBu5TfuDGy7aMe5DpjhHeHefA+7n+rWdydWy72Z1cZ3NBpu1TMf6NM0D7QxtEvtcc89wcfN+7j4XTyY45nkxbcu49523uuThx4ultIx0BmF49+x1V6grcL9DHrnneHh4jC5GwseMVUwU1zp8gaxqMzj2FvkeNwoV2oG9mweNP2SVt8j3yIZWKQN7w2M0ZBEZ9Bb5HmMJyCFWZJcvXzbrMaaHM8hEp5Ny0dLSYh1Z6kxG87M7+NxD2cByfzTraw+PsQzKwfUs8iHWsUB89fl22bOz18jvda93ycNPFGv5ypHnf9QmWzd2S8OxuBzY22v3YMG46d1uCw+huWFdt2ze0K1lMizzFubJqy92yMnjMXNNgF/jZArSsFuOHuq3Rf6wVISYwJUHcW58p0cO7e83kubi+YQsu6dQ9u3StCTSMnN2ruzf02eDBxvf6Zbmy0mzwsRCcduWbjmg1yBI3n69U+Po0/cRWf9ml2zb1CMLFuVJdU3Err2rz8NtAQsY/t1ftci0uqicOhGTrRoOK0pcMGxc323vRzqxbPQYHSB7mfI30jp4OIt8ojp2JCl1M0PS1S5SPSkkNZOw5k3bYskFRYE17rT6kFmyQ3yfPRW4vanRsBDnEO5Y8mOljp/8hx+P2P3afMjK+6Jy+EBSpk4PfFG3ahxY+s+ZH5Kjh5NGdJeVh2TGrLBUVQfPbWsVs8xPpyGb05p2bbe0bEyaHJYTx5KSiGs5a0/LqYakkXHapZSqmpCRdMwYOLQvoc/W86WBu566GWGVS+JNy6KlYXMvghU+bnYAck7ZZUYB3VtIfbKVgQbc/8xfGCxWzUBCZ4de17Rjtc87k3+sCcAgBm5/mFUAwchzJk95nyi8k8iUGScvHGu/21vkDwH0ICzsKS/z5s2zcyn9kMxAxPgB4on8QpeC6J81a5a1CxyjV5GfhMOAZ0zoSPppmTGVKYsm83ouM3kMuBKGsJSHayWdQbn52iYsX1koldXhwbhdHID7ESu3ZcbHPmEzz10RJuN6dtjMZ2SCdyKOocC9vBek/NwFWNRfGYfFP7DvYPfoeWO0si96eHiMCkbCx4xVeIt8b5HvkQFkFmVptICi5S3yPYYCFdz1QCfnZoEMeot8j7EEZJJ6Fqv6s2fP2kDTypUrZfHixUbS04GlzqTTCllPeAeUBfznnz59WpYtWzYqZcTDYzyAcnA9i3yIgo3vdhk5D9Fx6WJc7xP53JcrzBfvjq09Rg4wdf/wgX4NH/jlZqG+y5fiuiXNtcDJEzGZvzDPXAZ8729b5OlPlMiz/9guJWUhcyvAYntY50Mu4t8X9wJY6uM2wCwq+7HSFimrCMvjT5XKj77XIkuXF8jkKVH5m79sljKN56OfLpXvfafVFjnEevK+B4pks8aJZWJFVVh6urDuT8uHP1EqLz3XLl/92UrtneBbvMeI/c99pVzmL8q3GQdYJp8/EzdCByv/xgv6Lk0JW9BwzUNFcu/9RUZuetw8kL3MOpm6fCR6xbUWu2UQCNIdEh6eH5KrqzMgpQ0a3C3UfPRwSo4fCfzKP/HhwMo+ovf29eHyQjuLeg82C1jm47u+pDTHrFoDEg29KoiSIoTP+bA+jzg4ZqM84Ksfi1ySmYgThjYrsChG5hk84PlmQayyB5z17JYNgcseXOMsWhY2VxiEIV784BcU5tgzGSCIarxY4RMX7q/sffWZXOcc+UIaM8+TfvKI+LgWzEzRc/puDAywz+AYiwOPFUPDTJlxbTbH3iL/apAP6EH/+I//qDrRElmz5j4bBIMQYcM4jF/yjl8H8pgNy303WIZ7nbGm85u7NZXdayWLcgiQcRAMAgSzvdh37+SuXw+I1lDPo4w7qRtpXCOGRsyAXWa8w6WD9+X8UNfAta4TJ9tInuPh4XE1RsLHjFX4xW49PDw8PDw8bitUIbBBTqzGWOiWqeEAi2M6snl5gSVZpoLFPZBGdFZVORg46+HhkYmCAlx2xKXxYtys1isqIxKJhqSrKyVVNWEprwxLSWnIrJBZ1I8FAqdOjUpJSdh89DYc7bf78d8LaY/V/fbNvWb1TlyQ9bt3YEUbkrnzc7VMpmXhkgKLEwIe63eI2GKND+IefR0/v/gTJl4IfxYLxCK/fkae+T3GpzGkP88kzTn6N2+BXtPzu7f3GHlJuBNHY3KyISbF+qzK6ojFi5U1/ooLi0K23XNvgQ1kPPRosRGt+E4mjR5jFwMGW1JanmO+7Kn2KypxrRQQ/FG9DpkV1v0Zs0OyYnVEnvpYrhHckYF7Cwrwbx/cg7wwAwVLdQCRDtEN4DjZILuw5Ccc9zjykF+eRxjOQ7yTPghzwLl8bX60ibL7LX0D9xN26T0RefCxiLni4T04B9gv1/Th6od9e67Fyyw1Br0Cgt+lEyKOeAfzQcOSZvYBhGiZ5hfxcQ0QD2nlnoym02McAb3HGd4kBwY9sMyHtGf2AufQkThGXwIccx8bYTnPhs50J4G8Qry7jTJy7nTc6mV3PFS4fbv75OXn2zVcwE5fvBDcQ3jaNRaLxf++Cw+w7nf7gLAcE7e7l333yzXaD2aDscCsi8tdc2kDLm4XJ3DHmWl3oOwxWNGiaXT3MGiAe6FMNz7uPtLQ0ZGy/cw43b3MemNA0J1z4BgRaW0JFuLm2FwC6ft6eHh4jBegrrxfgwawY+9ax+NGgSI0WkC5wnrCu9bxyIZWKQN7w2M0ZBEZ9K51PMYa6IxC0i9fvtw6rJQHpuVhiY/Mtra2WGeWRd0oB1zv6OjU3xyzxmcAwMuzx90EygXkzLVc69BkQLRDqi9aki9z5uYZmQ65B/E+ZWqwkF51dbDI3qw5eba4YPWkiPm9h5CHGF95b6FU1QSL9XG9qjosq9YUSX19VBZoGPzYczy1LteIcgj9RUsLtFxGpUbj4pkQ9ljEEwfPLC2LyFuvd8hiTdeqNYVG9N97f6Et7od/Y8h80rRQrxcXh2XxsnxzQQA5v+bBIhugIE0sgLjyvgJNU0TbtRx7DmmE9J89L88WBVywSN99fp6lCYv/UVTr7noge5nyN1I9ZTjXOlcgI6qhouWpENnlkN6QZRrGJYXf6yUlMwz77tjtA6eaXS8uwxBhikpybBbAUPdfM85hrrn0uXvZJ40cDxffNZ9zB5ApM05eOEYP8K51rgZ5kUgkbfFapwOhx3P+3Llzpg/hH59j3BVA2FOuCIdehSsDrnH/SPoatwJ8Tty8nWqISVdn0shq0nTsaL+VY8h5SGgGkLu7UjYLDJdrtAuHD/bZTJi58/MlnhD5/d85L0uWFVgR+eY3LtpispDi3AehzwDz2dMxI7TLy3E7BOGfsIHjLk3DT37Ybu0Mosc9WK+fPR23NVxYDwbyOxoJydkzMXv+iWP95iaLfcDCtITr7U1JU1NSnxc2V2746Yfk5x1x58Z5svvC+bgc3N8nWzf2WNvUcDym+mzI0sEgNm004Y9rXpAHpJ1qkbVeWBOE9HMPGXXhXEJe/nG7TNE2tLmZRbhJFzNcWKcjLru29Vje0e6STlx6/ePftMjk2qiwsPBYqws8PMYa7lQdORqYKK51PJHvMWoI5HZ0gNLiiXyPoaBVysDe8BgNWUQGPZHvMZaATCLb+HIFNP4cQ1JC3nNM555w1dXVg+UA+T116pSdnzZt2qjW1R4eYx3I/fWIfMCl6pqoFBaGzEIP394UFRbSw1I+Lz9k5HqBXoccZyMcvukhxqv0XnzP8wwGziADIE4gTl2YmsnRwHpY97FUJk728woCC0PiJCzP4dnEB3kCwT+9PiDnq6qjRnq4dGSmAbIedyakmXfBqpl4LH3VESN/AOnjfq5xvkjjdc+DYCEPMl0OeNw8kItM+RtpPXwtIp/okC8INacauXOZ+709wQLLPJFjwuJ+Bh/73V2icvq+xSq/tk9S9QbkAHIQmcJ1Dq548DePtT5xcJ1BAha7DRZaDu7ldkub7rg4eeXB9GWEceCaC++yx9Iy8OuuAXef3cO1gX0s7gkD0YfLHKe+4YKnq1PLs5YtrPcJO8JPcMeQKTNOXjj2RP7wIJ/y8/OM/KAfSZ+BssPGbEb0IQgSiBLyEdKEPNy3b5+R/LgeZObindKTqM8hyrdv7rE1Ui5fSkjD8X6J94vs39snzU0JI+xXrCo0wpuZVw3HYvouLECdkBO6P3cBMzNF3lrbKXPn58kuDcMkg8LCsJHlJ472GxnOPi7XIM8Z2KX8fvt/Xrb2p60tac9ubU5Yu7Nza5AeiHRmeEGKM+ts26ZuiwtyfMeWHnMrxwABVvvf+9tWWxgecv3wgT6bEbBja6+t43LmVFyfH5Nd23pl0dJ8uaTPenttlzRdYi2NtOzd3SfHj/RZvBD+DGLTXv7oe202c2zTu11mpc81LO8P7OvTfOg3cp+1aRjcOH0ybhb5u3f0yE59DnnGQMKG9V1yVuNlYH2b5jP3dnUk7dzSFfk2eD7W6wYPjzuNkfAxYxUThcgfv1/Aw8PDw8PjLgONuyoD8s4778j27dvNfzJKAA09v3RUT5w4YR1YOqmExT84565HZHp43O2ADIGYRA13U/ltf+CYX667zR0Dd69DcBz4J3ZhOWdxZcRjxwO/mecA+xRZrAYZAODYxZEZ1v1mxp+ZHnfM5uCuuXA8JzO+G4WvWm4zNL8h5y6eT0nzpbQ0XkhLb09w7uzplJHsENnsv/0aVrHBt79wLmWLx+JGYt/OpHR3ps0v/rmzKSP88bF/XvfxFw9ZfvpkSta9kZCWZhZXTsm7byfk7BlctYls3Yh7jZR0tKfldENwP/GzTgN+989pOOLbo8/Z/F7gLgOCnfM8F1/8Z06lJNYv0qvP47kMCFw8H7jSYOCA+7mnU39ZUPfSRT3mvS8EcRMHaeV9eX5zU9p87ZOu7ZsStjjuof1J2bBe0615QT7wS5o/iJx7jF1AirBW0JEjR0zXQV9qbW2Vl19+2XQl1r1qbm6R8+fPywsvvKBlIGb3YJmPTnXmzBm7J+Bh7gxoMyCmIa5nzMk1Yhxim8XIGUx75IliI7SpbyHJl68qMIt2Fl1PD7Q3DBKzwPqDjxTJG692WvnCjVpPNwN3SXn0yWKbTQa5zvkZs/KktCxs1vQLF+fbwAHxLLunwCz3GbwjPqzrmXWGK7h4LGWudRgQnjk7T/r7U3Lvg0XmCo57mTlQPztXps/IlfseKrLBgKOH+6V2SsSs7RmQeOojpTZojKu6fbv6ZIbGM3Ua6xlo/aTxMdOM2Wu4h2Of9Wgg5ufMy7VBic7OpK1nwzox+NXnmU9+pETrkIQsXVFga7+cOR0zt3O4nCP/jh/pt7VtmIHWqXlKPThf85hB7PqZ+vzpgds7Dw8Pj7GOAZuIK2DH3iLf40YxmooPCpi3yPcYClqlDOwNj9GQRWTQW+R7jAUg88g0FngtLS3WUaVzyoK2yCbW+HQ+qTPpoPb29smCBfON1Meak3vYcMXjLM2cFZqHx0QHcj4Si3yHoYJknrtqX5sbFq7FitFdw6oSkjD7PBhuH1zrGi4RsKoGI4pP92kuOeeaRHedY7bM8KT3es3rcM9iPzN9HlcD2cuUv5HqKcNZ5EOyHz4QENRHDyWlsTElF86m5OyplBzcxxoNuN1IyZmTKWlqTMuq+yMW7r11+MiG/BYjvSH59u3GhUdKTp1IyxHiuoBrj7TMXxSRfbs4DshvCPOOtrRZwM+aE5HtmyHSUtLXK9IGAa/3HdybMqL+lD73FM/X9EDM4/piweKI7NiSkF3bkjbzg/QzUMB9Rw+l5NiRlDQcS9n5mskhG7za9E5C+jX+E8eSFu+BPUkj4XduTcjM2WFL086tSWlvF7t25HBCThwNCHsGKHj/kw0pGwzQJlQunkvJ+bNp2b0tIYuXBQNkYxWZMuPkhWMG6b1F/tVAVyJfmLU4Y8YMO4eug45E+aFPic7EucWLF5v7HfbRp9CdZs2aJZWVlVbeRqMf8UHAABakPS5emEmFy5vcvJBUVoVt9lQ1s660np1elytrX+ywQS3WaJlUG1jBQ0QvWV6oeZCQ+llYdObI6vsL9Z5gvRRcseF6B8v6lfcWyaXGuNROixqZ3aT7WMATB0Q3LnAqKyNafvrtebiUO7i/V0o1HsIsW1Fo8ZSWh4JZYxoGa/c58/K0nkhp/oat3EHCMyg3f1GetDYnZWpd1N4F13G43SE9DE4Qd19fSh56rMQGBiKRkA0m4DOfNDKj7Ozpfq0ftNJS4Epu2cpCc5ODOzjcxC1YnC8drYH7HQh7ZiSwgDtu4xi0yNG8O7C3V3DVg6s5XO4wI40BE/KCdyTfPTw8ro2R8DFjFRPFIp+aKru2suMvfelL9nvp0qWcpqamUCwWy4nH4zlTpkyxXzZtEEOqRHAtpI1kSM+FEomEbZqAsCZG0xIOb9269ThxeUxcILMqoANHNw8UU0go/D6rzN0xhcpj7IEK7nqgk3OzQAax3qEDAAHqZdDjToBGHhKSjiaN/dSpU61uPHjwoBH5dDgZ7KRcYHWPH3zw6KOPWoeUOlTbYKmtrbV7z549a253UBC41ykIXr49Jiqoy5mVUldXd82OB3wY1swAyz2sArHMY/o95AKdewj6vt6UubJB58dSEVJly8Zuuf+RIkklNHx+jmx6r1vmLciXIwf75AE9TzjuSep1CG+IGS100t8fuCwBFEGs4zmmCSNsbj4ubtLS3ZmSt1/vlE9+tszI8oDkyDFCNU4ceewHaTOXQKqOERcWip3tSVm8rMDygfeAwNixpdv8GC9Ykq9Kf9oWwsUdwaMfKrZ3dO+eSWi8nz59D/219Ol7aG/F/CfjxuHTny+zcB5XA9njGzigM4+k3sWSuKqqygjIzPCoQm+tjUtFZUhOn0zK3AVh2b09Kc1NKZmj+1iuYpH/4KMBef6ZL+bKkUMp2b45LjWTgnJgRD4+rYtzVH6j8tZrMclT+Xvo8ahsXB+XL/xMnvzgu31y/8NRs2rHyr2oKEem1ofk3vsj8n/+ol/lKy1f+qe5sm1TQs6dTsvseYF8QO6veTgie3cmjLRfuiIsdTPDsk+P9+1OSPVkbdua0/Khj0Tl1RfiWj7E3oEBAcrF/EVhmVYXkhefjdkzFi8P24DCmdMp8/W/7B7WgwibBf8rP4lZGcA6H9c6xMXAAYMO9z4YMet/BgsYACgtzZEH9f1eezEm/+QX8qysjVVkyozTazmGkG5ubrZ2PVOm7nY4fen111+X+++/X+rr6wf7phgzUHzILgwa0H+4hu6ENT5tBLrR/PnzjdC/kzoRT77mV9WLSa2j39Q694mnS0z2AWU+mtGe8K40eexnvw7H1CG0TXY/4TVsbOCYe2kHaAMQPRFLylwAAP/0SURBVOt6cU7rC87Z/ZEgPC55eA4Lw5860T+wUHrw/MyXIQzPy9P4s9PDNeJ2C+TG48F3YyCc5xMXhP47b3VJSA9YqBqinme5Npl6h3DETTvLvYB84Z04b23mwDvYM/UdKUOMk9L+cz+bh4fHtTESPmasYtWqVd/QOj6pbUYi81cv8Wsb+wPnbZ9fjt2+/sZdWM2LhLYnyUgkok211kR6jl+OE4kEv6l4PG6/sVgsGY1GU6rTpfQ4rW1WWtukVGNjYzo/Pz+l/XOO08XFxVZLTpo0yX6feeYZfm3fYaBavgJ27C3yPW4UKrQDezcPGlUVeFNWvUW+B/KQuV0PoyGLPMdb5HvcKSB/2nyalVhHR4d12PFvz8AS08EBdSPEPZbG+HYlHICwxyqNhW3prDIAwP0cEyedWAh8Bgfo9BIno/+jWYd7eIwVUJauZ5HPaSzzXn+lU9a/0SmpZNqsHdvbUoLP3XWvd9m5/Xt75Z23u4VFCPE7vHdnr/TH0mYJeelCQl5+vl3LXlpeeLZDILkhu/H1i5Ui+29rPFs2dEtPV0q2buqWfbt7zTcx/obfW9clL/+kQ3UfkXfe6pT31mv7o1r6Zg2/Ue/vj6Vk9ZoifX6nvPVap8W3/q0u80uMxSGWlBA7LFyIm4XDB/tl97ZeO3/PvUV63Csv/bjD3ofwkPxYIuJjGb/Khw70ma9g6oFX9d1xm4CvZZdlpOElS1/ayJT31nUbkcP7bHy3yywr772/yMgSj6uB7GXKn6tvqZPdNhSGs8gnKqzZ62eyoDnul/AFLpKXH5BfS5ZHBi3jp9eHdAvLscNJwf0OpFbL5bStoVBRmSOTpmi7kJ9j7nBqakNG1hPX1LqwHD2QlFMnklJUnCOV1RBoOWYJr02GyqDY87G6h8yDeKd5mjU36OBP1nhVjbeOJQNNk2tz5PgRLPv1Wm3YyP6GY0mZtzBY3LmiivUhgnebrnHh7oK4iQfOgJkFZeWsP5Ejc+eHLf2k59ihlCxeEZaqmpC0teq9+q4Ys/Heh/cnNX/SMmlySMtayNzx7N+TlLKKHFmwaGwv6JwpM05eONZ+t7Xx3iL/alCOTpxokDNnTsvcuXONbCLvKEPRaERlodN+MWYg7zo7O+2X6+hYGEDcaZ1/JF8UMpuFyR2pDth3cGIxnHxznWt2jwszcMx5Ngh1fqmaLJ6Bc8DdT7l3gKCvnYJrmvefn/kyhM9MbyYsLo17MF7dt3U9dN9VjbjnwS0PA9BY3tdMjtiziHNgvGYQLu3gimcOxE263n9OsD9MFezh4TEEhtNZxgO8Rb63yPfIADKrAjpwdPNAqfIW+Xc3kAEqOL49lRsDOxCOKNicvxbo5NwseL63yPe4E0D2qE9Pnz5jcjd7dmAdxobsX7rUJGfPnpHFixfJtm3bjdiH5OE6nVCIH8KtWbPG4tI23OpTpppTNo4dO8YIv4WFzMeyj0EBLPxHo+x4eIwlUAauZ5EPYXCqod8Wvjt5vF/uWV1ofoJnzMo1Sz8s63EdgKuBx58slud/1G4kApbo+K/HvUBJadgWDZy/MM8ITq4THwv5zZqTKy882y4zZuaaFSF+emlSurqS8vmfrrDwkPe4AzD3CTVhi2/f7j5zDVBeiaVyUj78iVJZ93qnpWf+4nw5caxfPv7pMvnHv20xC/vPfrlcfvDdFonmhuSn/68KGxhgRgAuD/7ivzXJV/5ZhQ1YvPBsm/VYPvzxUrOkJy34TT56qM8stNtaea+wfOpz5XaNRQ0ZaDh2pE+qqqJSUxsRVf9l355emTsvTyo1zSyM+DFNC1aRHlcD2UMWs0H9fPToUauPp0+fboSiawPAcBb5gEOi5Cwxs89tWKZD6GNhShhIeX5x/cy1goLAfz4YNKojEkBEuu/iBdyDBezg4wfCAO5/89WETJmWo7IeFtzXDPQ/r0BS04V7D9KHmw2XPmQ/Ny84d1WPdAAUW56NbELKWTZmpAG4BW+1T2yDAYC08Z48l3387ONaqKsjLfc/EpG6GWN7UedMmXFtM8feIn9okBeUkZ07d0pj4yXVge6z8oTxAuWJDZLEhSUfHZEP+X///WssTHY5u91A3u1d9I9ywSdGvq2MZIDzdziptx28M7jb3tvDY6zB1aXjERPFIl+bBQ8PD4+xBRoHBnFwFQKZTkeXDetkjvllBNPDYyJCG305fPiwlQNI/OyOJech3ul44uNVFQEb8MTinnLB/ZD5dFK596233rLRfTqGEAMQ+viQZYCM+2fOnGn34XaH6x4edxsgB06fjMnlxoRUVAZ+s7H+Y9FB3AXg7oYwTMlf/2aXLQgYCefYlP2WFhYhDMm5MzEtZzlSMzkqPb1J87e7dEW+Lca3bVO3+Q1mIUDcALBYIFbRWPLjBudyU1xONcS0XIdswz8yz2Mg4dzZmGzf3GP+hHF3g2V+RNPTqPE2XojbAMCq+wrNOvnNVztt4cHqSWHzH8zihgwAEBcLIr7xSofs3d1rgxJlZWF9l04t8zn2fljWd3WmzN8yiyV2dqRk765eienzgvT122BBSVlIOxaBdfhMTd/5c3FzLTStbgj21mNY4OrjxRdfNDdp1N3UzxCQLLiJvsMxdf216mS+q/0GP0Zucc6IcZUrbqWv7ZoP/dSCsTGcMOQ+1wZBJC4i/c3sLV5B4oOMfeJ68LGIucJhfzhjZsh0QJqIj7CklX3SOvjsIcB1nu/KoSEzPQpbHFc3nk8YNo7Nwl+fySBGYRGLhUbk45+NmrW+PddjQoEygz6D8U95eYXpQRgyUI645kAYrPMZQOP6yy+/ZGWScJS9OwUeTZvCwrAXz7OeRY6ttXLxXLAflOnA/cwVZVLBNVzT3MHk33Lwztnv7eHh4XE3gqo+u7q3Y2+R73EjgGSCMBotoER5i/y7D3x3vjUkJsQjCjbnmFbU19cvjY0Xzary+PHjZmXDeSyLs5XuJD3EmwRxeot8j9sNOprnzp0zNzmLFi26Spa5jnUxVmSEQS4h8ikHjowPhyNSUJAvS5cutXp5x44dsnDhwivqUlyNYI0Pqe/ipL5dsGDBkJafHh7jFdTl17PIpwnBdy+kOwsCYvWL+xkWx8PqHsJ9+oyoWZ1jFTxtetRc1kDG454GtyH4743gHqQybBb6xFFSGpImvQfSv6QsIJFwiYM7gqbGhLkOgdRPxNNG2hQU5NgMAOLBsj2q4Zo1Xt6hsjpwP0K6sJC+cD5mcaxYVajpjJhLHYh49nkXLOZZNBErzvIK3JiwqGjCSHwt4PyzgQos/3l/rO6ZDQDXdUnTnJ8XksMH+uShx4sFy9BGTR/+9wuGSB89B+4lfb7qGBqZBCGu0Pbs2SPnz1+QqVOnWB2OWw/C4DIFMh8r/NmzZ1tdj4sQplmPpF4eeMSIvwPhRxI2O1zmMcWKfbaRxOfC8OtwvXtGC+6Zt+t5N4NMmXG6AMfeIv9KkAds6EDoMRDye/fuky9+8Qt2HsMGdCHnooD+JecLCwu07EVNb1q7dq088cQTdh59Cit+cLt1IcoSbcuRQ/3ajiTkYa1/mR3GIrHU9bQ5Z07FrG1i0NUlT5Ot7x7U9wxCD+WH3sPDw2O0QN9xvML7yNeNc/ow7yPfw6BCO7B380CRUoE3ZdX7yL87wDfXukROnjxl1mgo3Pj/pBOLBf6+ffsEFyK4/9A6ZvAeFHennDuMhiwSt/eR73E7gcxB4kCwM4DEhvxlgjLCABMyWVFRqTLapZ3SXqmsrLAZLHRQccXAom2UFzq0DHoxGEV9iuLFM+js8hws8rWZtnAlJaV6T1DnjmZ97uFxJ0G5up6PfGA+uisDa3TIErPMVy0ZUqS8IvDFW1ISltKysO1zrqg4bKQ2pH1ZecQs1iFi+M0vCMil0rIgHHERDp/e/HI/VvRYEmNd6eLD6phj0sMv90O2O7IUf/qleozFPf6CK6qCtBUWBunkFR2JA+nOxj7PrdSwVCns8xzSTFg23pdzpM3yQe+bXh+1Y6z2R5o+j6GBLLBhiLB+/XrVW4rl3nvvNbmkrqZ+Rp+B5C8oCNY2wScqg1Cse0Idng2+tetL88sxrmTgfHFvwzHg17meceHdvbjC4dtxzEKx/PIdOcfmoMmzY+SHMCwyG4kG5UabDZNBrmuyVZ6COHgmlviZ8ZE2wpM+XOsQL2Ugq6nzUDiZAa5N5hg9wPvIR56YVZEyXf3ixYs2GxEDB2YZkjfoNwB9KVOXwlCIcy5/iQPynsE0yiHHzFokzwnLvbdLJ6Ku3ba528h8XLWx2HpHR0p2beuxgd+N73ZL44WEHD7YZ2umuM/PfZx7+bk2y5e6GQz8Bdc8PDw8RhvUM+MVE8VH/vj9Ah4eHhMGKNJUZFgi5+fnmZ9YpprTwaXzCuGIUk6lhi9ZOrZcIwydmcbGxoGYPDzGLygHkPTINaBRp2PqrMfYOKajSSOfTgf+XquqKuXIkSNmdYZfWKzsiYPOPmUJyzLKCxZ8hCM+iH4s9hksgOQEdXXTrRxCKnl43G1A9Ub/ppxBSmJxzjm3D/i9at/uC+7lmH1+uc/tu/OZm4UJjGyvCOfuyz7vznEPxxD6WMizb+ez0uzOuX3IUnfduSHh2IVx++6Zmg3aqQgGBNy5zDDZ59n3GB7IFZb2uNJZsmSJuU1jQJVzkPrMGEHfefDBB21mFPUz4SZPrpXDh49Y20B9Pwj9PnGtqs+eSpnv93NnU9oGpGXX1oQcPpCUxou4RErbOWZodLTqb6/IqYaU3YdbqGNHUvLWq3HpaE8bqX/+TEou6X3sXzyfssVye3uCb/vGy3Fp1zi4H/KdRWq1KZEzp1Pyul67fCkl3fqsV56LycnjuIMTC8+CvMgSxD9pJc6tG4Nn7tickLUvxOS0nofg9/C4HihHkB+Q7Rj9UC4g75mdgKEPug3X0YHQlQhP3cy5zM3FhZ7ExuwX9CvIf+5l8AxdiP6FGyQgPNutBO7TcGvGouJdHUmr4zvbcJeYVL0vxyzzyyqCQdbW5oQ0NyVsBhhbJxb5Wu7yCm5tGj08PDw87jzQCLNrezv2FvkeNwoUpdECipK3yL97QOeUzixAGS8vLzclHWIfErK/P2bnsIpBJk6dOm0EpbOUQZlHeXcK9mjIInF5i3yP2wnqPDqlyDYDVJDqyD0DWc6izJHxEPBcdyP3kEO44oEAWrFihZUfzhOOzijxMKqPuyrKFftslBU6qXRcKWscO0v90azTPT4YbgdxMNFB/o3EIp9LLGaLT3ks6t25zA3+h1+KBvuQ2m4BTu7Dih0rdVd0BviiQWTej7UyPsttfyBuFy+AfCVe9+zMLTtezgGejWUmyAwzeA+/A2HducznA+KwnkDW+ez9zM3j2kDuIAuZcVhWxuyomNa/habPMGNq/vz5Rhzi/ow6Gn2G+pl6+8IF1gTql9zcqLnbcTIM2X5wX1K2boLMS8vh/Sk5dpgFPUXrfTEy/5BuyNCmd+PS2yOyd2fCSHbI+DOnkHWt/y+kZM1DETmwN2lxQKpfbtTfhrTs36MynZ8jVTUh2buLuER270jK+dMps+SH7OfZRw4l5dEPReXSxbQcPZyUjo60tLen5cLZlOzYmtRylZbjR5JaDnFflZYmjb+7S2TRsrDMmhOWRELkrbVxcxk1ZVowg8QjkBv3vV177GTpbrTI510h1NFRqNPRb6jXKTPoPOQRehT5Q/lBh8cAaLg8IjyzfgmLfsU+QK9i4zx5TDj0JGdEERhS3BohpfzSDlVWRmxxc9y5lZaH5aOfxBgjIVOnRaWnJyXL7ymQc2fj1u709UL+J21NlWV6vn4Gsw0GIvTw8PC4BQg5hXAcwlvke3h4eIwicJ+DkgxhiZsPLO+PHTsm69atk1OnTtkicJs3b5b9+/eropu0Cg1Csq2t3To0wynqHh7jATTcWH5B4AA6pjTuNPIQ8YFeIFYWIOxp4LHmpFN75MhR69BCxEMIuY4rcVI2XJx0fiH8CQsIQ2eYOBgwpSMMqUQnmM6wx50H34Z6kW8zVus45Ix0IjfjFWQtIv/M37fKyYaYdLQnzS8+r4T/eqwjIezb21N6LWULCmI1eWh/ny0SSzk9fqxftm7qlj07e/U4R1LJtDRfTkp/nyPgAp/03A+69P72Nqyfc4QFdbnGPiQOaWBhWuLp709LMkH63k9Hi8YLecM+YJ/4D+wN0gMZdLkpqd/FLutv2nzod3em7Jf3Ii7SByzO5uD82pfazXUDfTTiJQzPZ7M4SYeG55d4GXDgeR7XBnVqa2uLuT6bPHmSlResbxm4ragIjBc45zY6cm7mIf1L2gO2zHoA6/l77o2Y5fukyTlSPUnlRb9N44W0uYfq7w3c3OzZwVoIOdLcnJZpdQw26bftScvCJWFbABayf9/upKxYHTbifufWpC1eW1kVkqLiHJVTZE+MtOfe1lbKAXKYNjK+qipH7wvSAzFfPyMsxw9rOxIL3OecOJqSSbUhuf/hiA0kHT2YkrLyHKmqzpEKvTfGjAF9Ru+AHHt4ZAO5Z9Yh5Yd9Br0wOICAp7ygI1EPo8vQHlGeKD+UmeHaT7e4LToTehZhmBXDOcB9bJD5uOtBP0JPc/fdChDtfQ8UyUOPFUvdzFx58qOl8sTTpTJtRlQee7JEHn+6RD735XKp12sr7yuU1fcXyqKl+VqW86W6JjK4zsktGmfw8PDw8BgjwOQou2WzY2+R73GjcETTaABlylvk3z1ACYeYnzo18E+5ceNGU84hISErZ82aadvcuXPM4hi/snPmzLHFrCAmsXCjM+wwGrKIDHqLfI/bBWSWDiKkDTIHcIHDPlb62pQasYMPVzqahKVTCXlPB5TO6vLlywdJeo6RX+7TNnnQsox7cU3FfViYMRhGnFwnDXRo8Q3LdfY97gyof/iGLMDHd2Jgx83K4BoLglM/QmRQX/Jdue6+N9+SX44h2qljudd9c1wQEAbCg/NcB5zjHsD97hfZIwxxcZ0BJeSE5x86dMjaa+JCbkgfG+EJy8a17P3bBdJyPYt8CPTTJ2Py5qudRoTs3tEjB/b2GnGdTKVl3+4+3Xplz84e2byhx8jOd97slp3bemTmrFypnRaRLXp+1/ZeI8iXriiwBQpfe7lDTp6IyZLlBXLkUJ/G3yUb1ndp3ohs20R4yniOvPd2l+zWe0nHe+u6bR9/yAsX58vLz7XL+fNxI+hZEBfSf+M73eY/GYtMXO1s29wjCxYVyMvPt8upE/02WIAv5fbWpMxZUCCb3+uWtS+2y75dvfZeLIp7VNOz8Z0u81d+YE+vbNLwPRr3m2s7pb4+V6onReT7f98iOzWNWH2SP4S/oGk5cypugwbHj/bL8cP9Mn1GrrmAMHsmj6uAvFNPs9YPOi3l2ZUXCELKsiMSKWMO1AG0A5RL6nPqalcvI8oQ9nPnsWZDQLZjzc6CyRq1DSRVVFLmRBYs0XKr0eZG0a0DS/jmJtzopKVuRkim1Wkdofdg4V9RFVJZCsuhgyk5dzolDz4WMZc5ADc9JK92Wlim1rEQq6i8pWTS5JDMmBWxNDQcT9nzZ8wKSUtzWtuWkCxbGZaGYyk7Li3PkeUrI9LWmpZp9UE90NUlMnN2WOYuCGa0eARwdSlABgDH1K3IDG36cHXaRALvSF8AFzrMXOG9aZfc5toWwC95Rf5QvjjGiIF2zrWfgDbBDZYBrPFpQznnQFju55c40a8ov7ShDCpQjt13GU0Q5Ug259bNYfC8h4eHxy2Gq3PHIyaKRb4n8j1GDYHcjg5QmjyRf3eAb01HlY5JfX29WeFTgaEgQzatXr3aOrpYFUMaIQ8o41q1WBgILQhNiHzOgdGQRdLliXyP2wEnazTmLLiG/NKQQ/TQYXQdUjqedEgBfvAh8ykzzc0tGj4ks2bNMnkF2g5bHUqc1KPczzXIIjqgdIZ5LuWNAQBXZjjHcwlHZ3k063WPkYO6jO/07rvv2qAlxz/4wQ/MGpFZSVu3bjW52LNnj+zYscPqz5deesmIjldeecUsBt944w0j7vnGr7322qDLsnfeecfi3r17t+zatctkbMOGDRbntm3bzFc38fz93/+9bN++3QZLITleffVVGwRiY6YUdTH18l/91V/ZPukgbSzmSb1MXPgdxh3Uc889Z+T/6dOn7fmki0HZ2yFfyPT1iHws3wOLeJH+vpQ8/nSpEfAXL8Rl1px8s7zv7oLULJbmywk5dqTf3B60tiRk+cpC6etNyamTMc2HsDzxdIm52IHkb21OmRuE1WsKbZAAK8umJi3XZ+LyyBPFWs4CQp99FqBd93qnPPx4sQ0UTJoclen1ufK2noOYP340JjWTAotmrOex9GeBW2YA3PdgkYaPWHrrZ+bJ2TMx+dRny2SXXlu6PF92bu2RhUsKjGCdMz/fBhWOHe6XKdNypVHvOXK4TybX5hrZWzslau9w6VLSBgrWaNw847i+82S9hp/m8+fiZtnPe0DiL1lWYH73Pa4GMkddzKxCyil6Cx0zyi/1PbLJQuWXLzfJvn37TZ+h7gXU95QVXA/iVgcrZEc0UnSmTA/ZosoQ+NPrIeRDUjs1JLPnho2gnz0/rN8sJHV6rbomJDPnhC1czSTdnx2W2fPCRqZTCrmPe+boOVzv4PqmfqYeaxxFRTl2beas4Lh+psZbC3kf1ni07dHnkR5c8MxbqGH0mLTU6f0MCmCNP0PD8XzSyrEbCAAVlYFlPiS+b3LeB7Lj6qzMNho5uluIfN6Pd6UNYiCLY9ox8oN20en9maCMoPcQFjKEY9o89CruJT5IeWfAgM7DdUfqDwWXz/zSJ2Agm3jRrbye5OFxZzBQLD3uAIaqe8cLvGsdDw8Pj1ECdR4kPZUXSjEkJQu9zZ071wgirtNxYcsESvfChQtNYQ/qTQ+P8Qc6hs66OVOOId45htipqKg0UpTygLyfPXvWygrHuGmgHGR2KCHiIXMhWglDJxgyCItQ/DNzDhIJNz2UOwc6uRBNkEuQTx53FsgGCh2ux/hmEO58L+pHiHGIPcgNXJFhlc83Qw4g43GzRJ0Joe7WXeBelEGIetYWYT0FCHwGC9zgqRtU4h7IfxbcfOutt6y+JQ4sI++55x6TFYgk7iWNDDIgT5CPpIUBWuQOkpK0IFMQ+YTh2lhDb09KSssiMnlqVJ57plUqq8MyY2aevPZiu+Zr2o6xdi4vD5vLg9df7pDGiwmZVBvVPEmaWwM6lVisJxMsChqTeCIlc+czEJwjNZMj8tbaTmm9nJB5C/LM8r2/NykPPFwk77zZZYsWPvJ4iWx6L3DPUzcDJV6fVxGR+lm5Ujs1IrPn5cm5MzEt32mz1mfAQD+DLFqSr2VfbLChry9lswie+4F+p5XMkAjkqKwsbFb+DBjMnJ1nJH5hUUgeeqxIJus7lJaFjJCH2O/p1Xg0P3in/t60zF+Qb64c6Lc9+iSD6Tmyak2B3b9iVYGm07e/w4G8R/Ypi9ThlFnKF+cpX6WlZbY2EHX8448/PliPU88TrqGhQcv6aSt7bqDWgarbNRkFhQEJzjm+EwQ/+9yCjLDPxiARqlQkKioLwb18PsIUFAULPa9aE5GnPxHRb00bpO8w0FvEXU+uyo/rv/NrMzEGyBRkjevhgWfyrCv29fnERZyki/CA66TJvYuHhwNlgTaF2Yq0OZQjztGWUYaGA3oTZYh7aJ9ovyhLDGxTxiDjiYcNXYk2C1JlJKBconNRrmnLrpUOD4/bDQZEnSi7/RsRUVwHDgXisTp84Ph6yH4maXHnRjLz6nppJj20GTf6fh4eEwWIfbbo2/GXvvQl+7106VKOdvZCsVgsRzuIOaqA2i+bNpAh7cRxLZSfnx/Sc6FEImGbNpphVTi1nQ2HtZN4nLg8Ji5QhFCWRgsoRShHEAZ0eojfY2KCb00HFUUa8gmLTghNvru7DpyMobxnYu/evabYQyw5ZBP+HwQ8F5cmWO2g4HsZ9LgVQM4gTrGuhxB19SgdSsh9CHvInqoqFj8sNKIWcpQFb3ExxYg9rk0gYSHmuZ84CYOlNefpwBIOGd6yZat2aiNmDQ2ZCwG8Zs2aKwYBeDakLJ1fBgJGs273GBmcXEA6rFy50sh3vjOywDVkg4FOvhOkAvt8S2ZlYF3IjAssDJ28IF8PPPCAEYEMClDnch9tLIQ9MkJ4wL2AexgQoj6GSEGeIBypXyFEVq1aZXK0fv16sxih7gbMoOIYAv+xxx6zOvTNN98clE8Gk4jzq1/96qjU1dcD+cUsAtqXaxE1iLkGNXR1vr/gLQQ/BCZW+1ynmBAMX/aQmFiou3sh8ClFkJn4l08m01JQGLhm2Phul5w42m/k+Ec+UWr3Q75Cine2pyRf94kLtzf88kxA3CSbX5o/LPHJtng8JS88227W81ju428dn/Wkjw0/9sUlwcKhpIP0m9W8Rkt8zCIgHsKwHgDhsPDv79fn5wbW0pwDhOc8Ps8ZDOBZpJvn8evCeVwJ5A3dhsE06mAGsSiP1OuUH3QL6uFnn31Wdd5e+fjHP2aDaeg5lD/kFsIRwpCwDNpRPon3Vuskmd/f486A70zdAVxdyTEENTOdqI/d9YkI3o22io02A5APtHEjmSlL+0ZbRHlys1u4l4Fw15egr8m5kej5melBN6IdJh7aT99H8LiToI1GPmmbcZM3f1GwZgIu+Yq1zc4ryJE583C9GegIhEVm2WcLZkOpbqE6wqWLcZsROFBEBuuYS41xW3yZ8AuX5tsz9arpQzx3MB79Q09h5t/ipQU2mIvd8oH9fZoGXECK7N/TJyvvLbRnWiwDzyB9VHW9qp8wa/Ce1QNh9DJPIm4LpfExK/C9dV0ydXrU1okoKnqfH+Ae9478ogO5d3TngXuuO8/zuWRheBbBdH/girky9AiQzceMJ6j+9Q395kltYxOZv3qJX9vYHzhv+/xy7Pb1N+7Cal4ktH+T1D6WNlEqbXqOX461feE3pf0x+9V+VVL71yltw1J6nFb9Lq198JTqfGntL6VUV+Q4XVxcbEKqfSf7feaZZ/i1fQfkMpDg92HHnsj3uBGowGolTg9xdEDlgKJE5wVCV8uCnUepdUQVW/YzreLVtBCO38xwnAPsc2048Gzgnulx68H3YNo5HVg3lYh9iCOsiLH6dGQT35FODLKhdY7to4RDKDmMxrdDbkabyCdOh9GIz2NiALKGziYdVUe4AwggSE8IdYh2CCD2IXMhRXG1QFjCcEyZcXUi9RiW1sQJyct5iGHIVUCZgtAlXizd3JR1wC9hIQogPz3uDPgObJntV2Ydkg1kgev8un3gzgF+XVwg8x4Ht+/ud/e4sA4ckzbXZjLogLwhlw6EcfcD5I/BVwZecQvl5PVWgjSPhMjPBK+pyR7cB3b4fja9fz7r3FX36TH77W0sdJs01zVYxTu460PtAxdn5i8bAwW47amoDNyauLCZyI4jEy6sizNzPzssGCrMcGE9AiBvrGGB/C1btsxI+/fee09lf4Z8+ctf0rwLygY6C3oMxxCU6DXMXsGdFTMUqa+5J50O6gIs+wnrMbHBt3Z1rtNrOb5biHzen5ln6PrIPEDu6R+iM7FPG0IeZOcDx5D0ro2ifEUigVtOdCk3KE6ZZH8kIDwz2bD2Z4Yc99JHwTrfw+NOAdHH3R7uAfPycuT/+y+X5KOfKJWl9xTI//Ob5+TL/7RCikvDtkA/xga4+jvZoP3olqSsebhI+7hh2bmtV9pbE1JZHZGXnmuXT32uTErLtNzEaaNy5MzpmK2lM60uV7eo5OaH5JyeY5FlCPeqmoisWFVoa/Dgcm/m7Fy53BTEd/JEv8ybnyfvvt0tqx8olFh/SnZt65H7Hy62mWNnT8ct3axPdOJYv6x5qEjLfNoMHzAcYBYiC0AfOxIzd4bMguQd/u7bzcKaQRj3P/7hEmk4HpOp01hfT+sI1Y3KK8Jy4VzcBjVmzw1mM7KOEQYUs+bkWfyl5SEpLAhrexsTZi0SbsfWbk0PbuJ4tz4pLArr+4XlyME+efDRYovXN7+eyNffO07k8wWyNQA79j7yxz6wlMOiTvPfyJ07DRXagb2bA4oSBC7kFO/IMUSqipKdp0ODEoelBYoU59lU7kzZIy+wduKXMNzDPhaEdKawouDY3Ze58SyURu5HQc68Nlrv53E1yPfDh4+Yj+f6+jqzIia/z5w5K62tLaYo830hK2k4+D5btmyxb4UVKSQ+hKTDaHwr0gSZqXXbiCx/rgXiIt2kC9nlF8IWufK4u0H9TR1F3YUsU2dRPyF3dDapryAgXb3lrMsYYGIfQMhznG0VhrUYHVTqSWSQTifAKpQyxn3cQ6eUjTAOyDzWa4TLPO9xZ8B3vd4GqCfdfvb1a53P3PjemcfuHpAZv4MLB4GPHLowbssMA9GP/CGX7tqtBu/DwC+yPtqynB0dx8M9Ast83ORQ7d/sq3N/JJpjFvS3KRs9bhDIGu09RgqUDchXZtWwX1s72QayXFlDF6BeZ3M6Pb8f+tCHTOfl3vz8AtNziJNw1Nm3qwx53BkgH67Oct+aY2QDOUA23PWJCN4ZPZx2Bf3IGdWwUQYoN+hJgDKTDfQoyg7X0GnIM8oNpL4j+Tkm3EjAfehRbqYiaeN3pAMBHh6jDYo/1uuv/KTDFuTHUKCtOWnu9y6cjUtBUUjlO2SW9FjJq7jK7h29tlA9i/lXVEakZlJYvvedVikrx/1e2GboQayzAHpDQ0B+T5seVdnHrZX2Oc7FZd/OXunr12fo/ll9zqNPFOtzcuSFZ9s0UZS9HNm7q1cO7u3TcpO2dXuwwmemIWl89YVO+z12pM/igPxnnSEGCnBHeGhfn+zR+yHPmQm4fWuP6TtY97Po/5LlhbJtc7c88HCx3Xf0cL/NQjx6qN+uT6+PymsvB32eSxc0/IoC+cE/tMoy/d3wTrfqomE5ezom+3b1SWNjwgj8bZt7pOFYTJavLJAtm3o07b3S2ZUyd4mcZ+bj3AXMavAA45nD8Ivd6sY5T+TffmzevFm++93vyt/+7d/aYnQvvPCCkZpYZ2C9jlJyJxDI7c0BhRSli0X9EGBngQoBD5nL1H0EnM4QLgUgvyDBOA8pxeJ+WPq9/vrrRkDhfgKyF3IMIp/4+cW6mwX3iJfnsKAggwZYpv71X/+1KY3ECxHG9Gbu8ZaptwZaRZjlGd8oEglIejq4ED6dnR2mJDOo4r4P4VtaWu1bMjXdKdIo1g6jJYsDleoHJvKRVeJB8WchSMopcuVcWzDVl44YMjgaafYYf0B2kQ/qbmQD0KhzHkBAOvlHTujA05mE0GFDbqinKC/ZxA7yRT1I/NSlyDLxEJa6kzoVa33XQUZWHdhHRgmPjHr5vP3gW/MNaI+o94bbAHUN35RvzLdj45r7zd7P3Pi2PIs42PjmxMM1B8I4i0Zk0xkRUDe6cO6XsMTj4ncbcGkjrdSvtO8uzYThd7RljThHROTrJRZ7NRc0mgSSnL0PBvf1X792ZNmn00rUdJ41m6w7kO0DlnhG+dVGPT6P0QPyjJ4KYYh+go7DL9a71KnZg6TIvdNp0Ttdvcw5yhpCRR3vymmm8YLHxATy4WTE1Yscu7ZhIhP5vBe6C+0fZcXNkHV6EGUAuHbJHWeCOAjv2jPaLsoTxAj5xzWnR10P3E8/m/Ckg/aLc7SFtC0eHncCrvifPxtTfSxkrvJUxG2NHizccauDThLXbemKAiPFu7uSKsMsVp4ry1YW2Ow+dJlDB/qlpHQgvOoyuNJpvqxlTXWewsKwNF1KGJlOcWGbPSfPLObLKiKyfGWRlomkzTw8fTImMY0PF4OEY72fCg3DgENIE5xW5YnzFFktPmbhzjpAuBV85PFifYeIbN/SreWcGWosjB6VstKIrd3TzBpDC/PNnc6eHT0W96WLCS3bzOSP2PmUxr14Wb5Z3NfVB++Itf2WjT22rg/EfFOjvktR2AY3OLfmoWI5cYxBh2DdFwY+wqrXTZuWq3HmSltLQj7yyVIb4BhBdXFXgPpvvMIT+bpxTh/iifzbBAjp3/u935P//t//u/mkhYRGsUHpZ6o6i9Hhh5YPTkcBBeZ2IpDbm4NLM0oX5C7kE4oT1vmAafls+AF2ZD0kvIrZYEedhfn27NljfnohsiDh6RAtXrxY7rvvPtm0aZMRxYQBTHMmLKQ/YQhPYcLC4uDBg5bP+K6GaBuNd/S4EnxzZLi8vMxIRWSbgRa+J5bE7NOZpWLje+BuhO/DN3QEF+Q/MuEwWrI4UKl+ICKf9EKUIq8MNG3YsFFl7LDJFZbOuD2hU04Z5hneoufuBLKKnOEWBzkHyAP1OPJBOaCeoy5D3mnI6Yhi1UmHEjltarps1zIJd+SP+hO/yzU11VqPtuh+t81qQTmArOU6zyQeZDyzzWCfcxBRyGbmNY9bD1f/0C4xuE29x7fYtWuXKXgQHNQdXENeaM+oU2in+LaQFNQ/yAEyxGAP4BxtHvcQP/HwfRlo3L17tw3yUAcjc4R1dS9h/9t/+2+yevVqee2118ygAHlDhiAokVd89CNbyA11HG038kqb6mQThRVdhkF30oncUv9zH+d5FudGE+TlSIh8Oo3trSntwMVtSnlvT1ouXohbB5Dp2xe184fffNzjXNLz7D/7/TbrDNPpw+pt4/ou2bm9x6zK6CR6leHuBboJZQnZxnUZ9fa8efNMp6F8UQYzdRX2tf9kZYB7KQfUzZRx6vG+vl4jMCmTlDl+CecxcUF95eosJyscIwcTnchHtmlfeD90Ido92gh0GNoO8oOyQjnidzhk5g9lkPLIL/Fl6kzXA2WTckcbCch/+iiUT+Lx8LhTwGigbmaezFugbUZhSKbXRY3Inrsgz9zQsDh//YyAkMaNDoQ+TQcL3k+ZGtXKJUd1n6S5xmERfcjq2fPoX+eYj/vlKwtVV0zZtZlz82XJ8gKV/ZCUlodlxuw8I8sLiwKCu7MjKXPm58v5s3F56LFie0ZRUcgW2L/n3oJgkX1N4+NPlUiR6lC4vYGEnzknT2aqLoWLHgYV3n2rUz7+mTIpLA5JRVXEZgQ0XozLmVNxeezJEiPfK/V8eWVE79X3m8Xi1WLW/FjO865FmsaCgpDMnZtnC/iy9tHphpjNjGTAgLhxP8Q96HyTbV2AHDl9Kmb5+FNfrLBBD4tT86+65s57vxhLGM/6hyfydeOcPsQT+bcBEPW/+qu/ah1w5IOPy4fW7B1UZNin40wHGQsFFrZTgRuI4dYjkNubA+lFQeV9IRgg4LFgIm46LWwQXlzjl7CAPGC6Pr4LcbNCoYCwJxydJqzpIYGJlw4VyhidesgwwtLJp8NEHJAK3AOJAVAanQXVaLyjx5Xgm6MIo6jzLfhWEPqAiowOL98GIopvzrfp6urWDvFcO9/eDhFVNqhcg9GSxYFK9YaJfO5taDgp+/bttTj6+2NaHu83wqy2dorNLMBKD/lEtpA5iFo/WHT3QdtLI2grK6tMJui4InPUT8g3szeQGzqeyCHyQXgWa3OycvHiBa2fSq6oo2gPWlvbVPb6bHFE4oBcpQxxjboTuezq6rRzlDXk1t1P3ZtJ9nPd4/aBb0TeM4gNaY5s0CbxTSDdqSupNyDJads45jp1KXUJg4dsfM/t27fbwDgz2aiPGADg+xM3AwXUQQxYMyCKbDFoAImIcQD1Km0g8vfyyy9bPQ1hz/0QGcRBe0rb6u6n/mamIOdpW/klbcgQ54F7F9KPb33SRJvNjLo7QeTTeWOa9Y+faTfrLizPdm3vkb07WHQ/KQf29snJEzE7v/m9brl8KSnHj/ZJb3dA9u/Z1Wd+Yu99sFCmTovKZO08DxQlj7sQyBlllll4tOt0xCijlE/0dMpJZntPeafcMSBHm8AxZRWZJZ7e3h6rw7HUd+Qh5dLd7zExgRy5Ost9a45d/TuRiXzeizJDWUD3YaMtoVxQBgDX2K4H4qK9IT4Gw0tK0GkiI9ZruJ9nk++0iejutFPcz3cgbSNJh4fHrQKzAtmwkC8pDRtZDWGOuxws3isrI4KFPMeQ1HUz8mwxXKoV1uypnxkcQ+JPnpIrpWUhqdcwEOvEOWNWntRMjur9IbsfQh49B0Ifoh4ynudPr8+zZ7C47rz5+RouKrVTozZTwJHvLKTLM2tqouajnufwSzrRxbq7Ukbe48d+2vRcC49hBRb9LH6L8QSoqGJmWvC+xIt1Ps+BlAdTpgaEPm4IA0ONpA0+PPhYsZH9xM2shTJ9blTDkO6WFha+1jCPFlt+kC/MUqiq9jpdNsZzneeJfN0454n8Ww86uL/+679unXWIHRSKocB5Pj6g8wABumLFCju+HQjk9ubBO0C2Q+gyIIFbiY997GN2DHkF6YA1NguHsfiR+2VBMCznIcEIS5jly5cPWkDxC8EA0U8HiDAQWFjwcy/W+Dzb3eueMX/+fCtEo/V+HleDfIccQjlGZqm8UNQ5hoBpa2u3cMgFyjNywbXOzi6to7psRoWTfTAa34ryNFCpmpI+UmiVZ4TW6dNnVIZmWOd7xYrllkZkD7ni3diwgKUzzzk6CXTwPZl/94EBSGSeOpuOOQQuxCmyhEwgi+xD6kDkIB/UWfxyDaIHeaJsONnhPGQ88TBwBPGDjDF4SVx0Plk4EUDwu5khdHZJD0oEygX71JNc87h9cPUP9SJ5TzsF0cegCt+UtozrfFfqSOoNfiEa3NoHXMeCETlwsnHvvfda/Qkg0ZE72jnuIV425Im4kAvkirhIAzLCgADHyAfPoi1loAg/4IBrtJnEd/jwYZM96k8GYkkHBCazp3gXwKADz+Q5DBKsWbPGiMzRBHl5PSIfyzN8rHJ51rxc2fxut1nez56XJ+fOxq2zZ4ugbemxju3qNQWy6b0e6/RiIYYFHJ3UVfcVms9ZX4Xf3UAfoUwg7xiIUG4pL9S71KvU9egGmaAsEg69hrLHMaQhdT5lCJ0ncD3I4rdBefG6wsQG9ZWrszLbdidLE53I5x0pS04Hp3zQDiH7tElco/0gbzL7AMOBOGlfyDeQqTMNB65zH4PP9EFIE20o/UJ0KcozbS1tmC+PHncaiOBw21DXHbLP3+jmwD4uaWqn5Bormh3ObVwc6jxbfkHIBglQBd05CHis+iH1OQaZv9lb9nl0PMh7iPn8fOqBK687TK8LwhQUDB/GIwD133iFJ/J145w+xBP5txDIwp/+6Z/KK6+8YgrHcNA8t02ze1BRwfruySefvMJS+VYikNvRAcKLksbABeQn+yhyTlHjOu/JMddc3rjzAEWPguDyhH3CuX3uZZ/rnOeYdyA+wDn2ue5xa8H3QDFGSXe/gO/PtWg0V79tdJBoApAyfGMqOGQj8zuNhiwiGwOV6mAn4nrgHtJH2SsuLrLOwuzZs0yWKJMuXaQZAgwiDblDbiFm6aTTQYNsHc3y5DF2wXemEXdkKfIOyYNsQ+hzjX3KAhvWy1yHIHUyQnnJllHKA2Qp8ois0fnlfle2sOZOJJL6zGBmF4QwJD6dUcIQVnUOS4+XxzsD6ga+NQN9bjYSssAxZDnfjAFC3N1AvkPIQzQ4Mp1vCTHOIDbywmAA8SEP1EEMBjBwzWA5dRV1LwPlEI9ugJHryABxcR/xMqDOPTyb5xE3g+Y8l3sJS13IvQyQI0vsI1cPPfSQyTSD7zyLgVsITdLGgABxjLaskZaREPn7dvfJ4f19koinzV9qT3faOpTL7tFyd6hfOtqSZlm2f0+vtg1pmb8w3wh+rMF6etI23Zyp15Qbj7sXyBgyvnHjRmvXqT9p/yk/kIAQ8pRlp7M43ZNjp9MQljLGMXU1g2LESRmnrkdnGKle4jF+gSy5OsvVixyjJ94NRD6Dv7wr78n7oyMh+wxwUz4oO+hJhKWdGg6ULcLRxtEWOV1rJHlH2aX94Pm0YaSpooJBuODboGM5HW602y4Pj5ECHYYNkR5KDGluuG7XhhP7zPNZYTLvz17/B1xRlHQfO6GRhBsOQ72DFkU7P2yxvUZ8gHvddgUG7uMdXZ3As64X390Op8OMR0wUIh8RzRZTO/7Sl75kv9r5z2lqagppBz9HG6sc7dzZL5t2IkPauHItlJ+fH9JzIW0kbdMEhDUxmpZweOvWrceJy+PGgQXA5z73ObOk5GMPBZQclH4UHYhBF45OPpb8v/Vbv2XHtxLILMrOaAEhRumiw0Pn/lpxU+myDRXGnWdDcQvK1o2D9JDPmSBu8jr7vMeNg7xEwYZsRElm8MZ9T5fPKMtc41vwLengkve41kGpJpzDaHwT4iM9kPAo7yORHdJJp5vZM3QyIMrobA91L+9BecVdFsQYlTYzSnBn8cQTTwx7n8fEAnIAOU99DeGKHLBP/YcsIYcMxtL5pD5kzQVH7l6rXkQWsXamXNE+YNlPeLcoNC4ciBOLUUhUgLw5meO5PA/FAlL3Ws/yuDXgG7iN/Hf7gGPX1vPN3HmH4c5lnne/1JfE5Y4zw7h72FwYd51fF4Zjd86lLTOsQ+axu9+FA7dCzogf10HIu8uzbHD61ec7ZN6iPKmfmavlMCQ93eS52DRy9pmWvm2zKtrRHFm+skDbIdLNe4j09qRs+vnAa3jcxUDGsKinfWeQi4EqdBd0Wc5RL9PWOxcddNbcllkmAB083FcRjoHZj3zkI4MWwQyi+Xp5YiOzXnZ6LcfoCLTp6Jnu+kQDZYHZKBDk5AO6uCsfuJdDL2FAjPJE2WHA2F3PBnnEYDfXIUVcublW3nGNcosujp7kjOLQ0VxaCIOuRtx8C18ePe4EEOOd23olHkvZ+jy4mAG4k+EaBDwL1zJ7cPWaQpVT9DkLonIc/CLLnM/RsIaBC4g09585FbNZikuW5cuGd7otHhaFJRjXM+OkquIcC9bOnB34llctUq9o3APxuucR7v10XpmeRIL0aD9pIH72VdMcTGdaf4OwV8Z3RT3A6+ghp9gYXHBlN/v36OE+abmckPyCsKxYVQATG5CiPEAj4dmE9cU8AP3X8YpVq1Z9Q79lUtuWROavXuLXNvYHzts+vxy7ff2Nu7CaFwmt/5ORSESbapVoPccvx6qv8ZuKx+P2G4vFktqOpLRtSelxuq2tLa3tV0rbu7S2LSltzzhOFxcXmyBrH95+n3nmGX5t38Fb5I9xrF27Vl588cUrCosKx2ClgzIPgf/nf/7n9svCr/otBkIGC/t84Qtf0IptoHa9hSBNNwtXoeIOgKn4dFic5Skb78Y78+vOQbai7NFZ4n42lUkLw/uzADCkL2Qs14DKqOUp4ThH/mTG667zyzHWH8Tv0gDoYEGqody5eD0+OMhXlGO+GbLsQJ7jfxllGWUdpRp3HwxuOctPzmeCe24WxHujFvnIER2McDgi9fV1gzKTCeSKcJxHdpAt3he//8g6fjtxS0GnfzTew2NsAzmjnqGuQ46Rf+o0/LjiegmyhrqLjY47hI47vpZ8EC9xEjfyRflB9lxnNyD5k7oFFvvUhS4+fgmP/BMP5exOyaIrLx+0DSP97v5bvfGs0Qb5nvldhjse6TbUfUOdy9wchrrGln0t+/hGtlsBvsv1LPJ5NAumYWEfdEohbAKfs26fTmQtPlenBQuiueTqp5fcvPePxztuh1xPZJBf1J+QrdS9DLxilEPdTv3LzDtH8FPnQwJSV3MP+gZ5Dqh/0W2JA/LR1ef8OuLwVpUZj7EBZMmVP/etOaa9Rg6QjYlYPnkn+li8o3MHyPtznn3IdLfOBANcnLsekU955DrhmH3IPvrFcOAens99lDfSwb6zjgSEcf1I+i8eExPICd84UwZdPT0WEI+nbY2f0ydjAre9d1ePnD0VM3eA+Jt/7aUO2baZAeC0XG4K1v8pK4/I+je7ZPeOXkmqjnPkYJ+dz80Nyduvd8qBPb1SURk1//DoRFs3dmt50P5EKfd1inYfVOZDsmdXr5w8HrPruXkh2bKxR5oaE2YQsf6NTkvfts090tqctPWE3lvXpf2PpMRjaVn3Rpcc2NdnPu9J91trO+XQ/j4jzF97uUOKS3CrlSNrNf27t/dKvsbfcCImG9Z3GVnJ4rfahZETR/vl4D7dDvQK6wJsWN8tJ471a76IrHu9S44e6jN3OeTTyz/pkP17gzWNTp9k8WuRN/W5pK/xQkJONnCf5ueZmOzZSR0bljdf7ZR9u3ul4Xi/rZVEvqoY3PUYS2XgRuFd6+jGOX2IJ/JvIX70ox/ZQnUo9wDZgFREEUHB0OyV3//937cO6h//8R8bGU0jA/glDFZoEECQgxBEjgR1CgpAYNx9HxSB3N4ceB8Upm9/+9uWPtLN9GSEl0X5SC+DFShwkLuQps73LlathGGBPxbNcwru97//fSO9nn/+eQu7fv16yy/e+bnnnrMOFvexrgB5g6Uqvk1R9Fg4mM7XT37yE+t4YT3NIAPPxsKP67gGYKBgNN7/bgbfivzn+5OfyAIbQK7xG4uIojTzTdwACuXBhXMYjW9B3DdC5BOecoUskkas8V25ddC6UcvhBZXf80bIImNU0Mgrnf2OjnZzV4Efagjc7PfymHhAVpF3vjnEDg04MsFGHcYx1vfUVx0dARmPXI2UyCcMHczMwSHigEzas2e3kfSUJ9JAvNzHsZPnO2nxRzoZzKCepe1yU+KBqx+ut1EWyQdIMjr8bFjLMtvBbeQ99TkbFrNun7qea7QR5B/30faQFuIhTjfgQR3Fs3gmacxOx1Cby9dr5S/XyAd3j8eNgzy8HpEP6KxeD8PePkGaf2QMeUa+nZwjf+QbnYrRaFvvBlBfHzx4SPXGass3p0vwSz2Byx3CAOpe6mjyGf0BPYg6h3DU2dTHhKX+If+Jh/Ne75z4oNy5Ost9a45duzaRiXz6f+j5rs0HnCcf0I+on5hhSJmifFCGhisP1Gu01ZQt7qVMunzjN3sD6Ov0R+g3ogeR59zrrgP2CQcc6eIxccD3DYdDKgPNxjHs379Pdu7cZd8anQ+5u9PtImphR1tKNq7vklRSpGZyRFqbE+Yq8JEnSmTtix0yaVJE+vpStqhrrD8lhw/2G7k9Z16+1iMp2bWtR5ovB/wRBDhkfl5+yMh2CHCw7o1OuXAuLjs1LAvcMihw/Gi/NF3EtVTa/NdD4re1JOVDHym1wYHDB/ps4dnGiwlpOBozsnzuwnxzT9hwPCb3PlBoBD0L2DKj4MDePovr4nkGvUOyak2RnDsds0GGufPzjUzH3eFBDcdzSG9Pd1LTlZDTp2JaX0SCNDUl7TrPJT8uaRqn1Ws73JWWvRpHYaH2o7T5bdTn7NLnsvAu76ZdcptxSXh88ZMHDBow8wBynwWDTxyJaXoLRqQvTnSM5z6Jd63jXevcFvzO7/yOfO973zPiHkD83XffffKbv/mb5jLnU5/6lHzlK1+Rr33ta6b48+EzgSyxUdkhLGwcIxzECUGJIshGJxeymg4CJCJTFvHLiwC5jsZwIE6nzNwMSCdx/fCHP7R3gUihwwOwhnjttdeMIEXoSRP+et955x0juugA0Vnn3fDDS6fnscces3tQxiBgeE8GA37jN35DVC4tPAWHwvHpT39aXn311UFfxFhCQbaiwBEO9yeQShA8+AFmivOPf/xj+emf/mnrgGUqmx43BuSSvGYQBtmD1OYbO9/cXKfTEovR0Pbbt2fju/JNs4HCfbNAFukoIPfXI00BMgDp56ztSDMyRHlyMoxMcp3OB/JCGPY3b95sA3aQ+MgeeYFM42plNN7FY2wDOWAAEZdS1E+OzEFGOMbPOHU1A4zUedRHyMm16lzipAOK5T0EODM/qMNceWIQlEVHkTXCIXuUOyfndFqQTc6NRt1+oyCNDGT/8i//sqWPY+rt//Jf/otdpz5go56gDqesspFvlDPem4EIrrERjvB0vtinLQXEy/tRznj3zHJOHeB+Kd8uLODb8E1op9h37Sn1BXUT7SYDM2zMeICQoD4jT7lGOMK7LRvuOaSHb3X8+HH7fmy+Trgx8P1ot6/lWuduBvnj8oX2CZ0JGUb2qB/QiWjDkFnqH1cOMsuKx5WgvkB/pe5B7tinnGMEQhkmH7Pz0H0HBg2px9BtcMGDXoEuwXW+BXWbc4fmMbGBPPDdgav3OUYvmKiuddz7oefQdg4Fyhd1OnlCe0rZoq117WY2iJOySNlBP+c+wlLGKF+04zyT8ohxA2HIX8oddSH6Efdk57WLl3tp34d7vsf4A98WfRFXqejPzhCEc3xzOAN0TNb7cfX5nQCzA7HEf3Nth4S1Ge/tTZubv86OlPzyb0yS7/9ds1RURaThWL/kF6ouq+91qTFhxDaE/KmGmJHtRlRX6W8sLfMW5sn5s3FzKzh3QZ5MmZor3/6Ly/LVn62UY4f6zKpfs8FI/Z/6Yrls3dSt90akuytpRPtnvlAhjRdjNhOgrTVp8cf601JYlCOPPVUi69/osgEF1hzC3c/XfrVK3nqt09LCIrcMOuDCZ+GSQtmysUu2b9Z2dEaetLclpEvfKxZLydTpuaqfJHU/LXPn5+k3SckZzYdiffdINKTvHJaerpTcc2+B7NreKx/+eIkNHlja9V1rp0TlyCGtZ1oTUl0TkeLSsFy+hLcU8lSkrDxssxm6iGN1gRzc1yv3P1wk777dLf/sa1VaH3j9h3p4vGKiuNahRcrWAOzYE/ljA3/4h38of/VXfzXY0aehYB/re0gfyIN/9a/+lVmtuzAOKkSm4HAdZYV7IS+wSoDQgASlk0ZDhMLCRiPFMQ0V96PcoJzQEaEjB7kI+cOGYsPzs6FyO7D3wYDiCjlPOkiDs0zmWRA1pBFSBNKXtEFo8UwULvKAd4YARWGjcSUcjS6NsRZce+/HH3/clMS3337bSFpIK+JHKWafeCHrcZ2DcgjIEwg2lXN7dzpj+DMnLJ2tTBLM48aAwkTn9cKFiypzEVsEkbzmu7v8J2/ZaDgIjxxDLCCj2bhZGQQ840aIfMBgGha+KP5M+SWtWg9aGl1ZQS6feeYHer1WVq5caeUK+WTWBzLGPaSfssZsDwbYfOdgYgM5R9aQHeo7yF5kAHKfb48cMED57LPP2j6dTOq5a4E4qSsh5qgjqe+ot5FjZJvFE2lDOM8zOOcIZsoi4RiEul2yx/NJswP19FNPPWWzVRzIA8h8ypSzkofkp/w4EAflj3JDuWWjDuGXd6OTTjvhBrPZKHPcx0Y6HFydQx7wS/lkEMANBNAWuLaUjjztKfUWG/uki1/uy8xHnu8GztkgKyDo2Mhz2iHqD9LGwAWz7ngm7R5u9L761a+OSh13t4Bv6on8oYHsI1u48kLmMHBAnqmDOM91jCDoGsTjMdN7aJuQUcqTx9Bw9Rn6JGX9vfc2aF6GTDelHqYOcPWKA/dwvHXrNi37+aYDUx+gm1PX8Ev9VV8/Q+bOnePrgLsAmW2S+94c094gDxOVyEdPpixQD/HrNgfqJQa7qJvog9HmX4vId3D5SfyE5R5mZNM2UJ/xDK4TP/nLNRZypw/trvEd3HOIj3aejW9xved7jA/wndHxGHjds2ev1dcPP/yQ6Z5sGP8hf/Tf4Bjuvfdeueeee+5InaxJNcIZi/pwJMfW62lvTUrttKhMg+xuT8jBfYFlfPWkiLnBgaTu0XBYzGP9/ov/vNrczVRVhaWwOKT6csRIc9zd5OXmSFVNxFz3GHnelgyYRC0PDBpMq4saoY8Vf/3MqPTpuZrJUU1HUlqak6oPJy19kyYz41ekojJiacX6ngEIyHwGAyDimRkwvT5qFvK4/ikqCsnrL7M+TEKWLCswFzz79/RJcUlIpuj7MXugUMNUV0fk6OF+qZuZq2U6LLt39pr7GzhP3rW1JSlT9DktzfSxczSNKYujq5P1E3Pk6JF+WbQk3wYiKMJY4+/c3mP3ED8bvvPJB/KWdQjwx3+3g3pyvMIT+Z7Ivy3Qjyb/+l//6yuUOUgBlJt//+//vVlOff/73zdSIhv6Paxh4bp+i4GzV0OFzRosNpRDOm80UBBAWCrgagDCBKKc8xAXPA8FCEIbJQeLUTp3joTKBPHfqHLDuzpShM4lcQAqDdKoZcMaT54L+UT8vC/XuZeNe9wv4P1Q1AjLefKUc5CsWERDxhMXDbSL170r4D7ynrzMfAZpuVb+elwf5CMkJqTWoUOHLM+ZeUH+8504dt+Bb8x3I98huoYC124WfN8bIfKRDcoKxGJ5eYUqfrnywgsvWMedckhnA2WQjsdrr72u5aXOiHw6+bwjsz0oY8gjxxCVlC220Xgfjw8G5O12oK+v16w2FyxYOHBG5O11b1u9OnvWbJO/I0ePGAkUV/kvKrp6Jko2uru77D4IIeSsuLhk4IpYB5WBzs7ODpO33t4+Ddem9eBcOXf+nHVKw6H31wkZTbj6NxPIOGXDbcxQgcSmDcgE9QKdJwZOaWsgumgj+HWW73TqKUduo37m91aDNoh6gM3t8wsxyoAJdQMb5ZxZAxAFnHcD6NR35DV1Du0P9Q6D2px3wBKXtXN432xw7422tXcDkDdP5F8N8gLZxKABi0NkFb1r2bJlqvOd0zJWZeUGOUUvpA1GfqmTMHRYvXq1nRvt+mG8I6hPe61OQ1dBV6XuLS4uMh2Zsg2y61bkFP0WvZ56nntpf6gbMNYhvyn3blaEx8QH3xm5AE4PdHIyUYl83pl+GOXElRV+0fcpL67M8N7MVqM+oq28Vl1EWOo26jincztQvpzBkAPlDp2cthgdnjaa8ko9yMZzSBP7xIWOQTq8rj7+gazwfZkBu3//Ae2/rTAdE+Mxyh31ck3NJNm6dYs8+OCD1u9DDlmPEB30TuhgVAG2yKv+5WTQeliNu2uA93L1BT70TzbEbDFayHh3njAUIztk031eCQKc+DKbHu7hHNcA5Db3EZ5ftzitA6XTFqjVU3t29Jpl/MKlGNTAqVyZTtIAzp2OS2VNQOoT/1DvkrnvwnAO8EM6cDuUmXY7H9xi9w4VB3Bp4djebyAuj9vXP74V8ES+J/JvCyDzPv/5z1tnH2XBgYZC89eIgszzmaDBwXrxX/7LfzlYOd0MUGQg8iE3meaPosUGIYGCRHpo7CD3IS7pdLAPseIIVxVsS/v1wDs58iOTyAfuXQhDXO5a5jtmhgfuGufZz7yHfSojftky480O65B9zh173DjIb6xjkGWIfPIeGYMwgLQjj7UutI4xCjhlgv1rTS0n/M2C546UyOcdKBukHeUfwgjinvfKzy/QdJdaGaCjgRLIuxI/JAmyxz4dgn/4h3+QNWvWqGLIlOHA5/ZnPvMZK1texm4v+CZ8z//9v/+37Nm1V6K5gXXHrQCKLs9ii0QjVCj8s/qvqDjw55pMBKQQ8oisWKf2GukhzjirQCm0bQ5I7UjU7uEanVfkmmdyLh4LiGeex35SNdWnnvqQfPkrX7YwNwPy0m2A9+D5ENr79u2zMkObwmAe5R5Q1uk4MbDnwGwEvgdTmUk75eJacGUms+zcinLk3gu4/cxz1wJ1GXnhNt6fgXMGdcgX1nbJBHUNM8og86gfsZAmPxjYcLMNHOzb3oL3HW/gW3gi/2pQDpkJRjmDlGpuDlwHlJeXabsUUnnsMJlio84hHxlYKysrl+nTp8kTTzzhifwsUObQXckn6ijad6f/YrVL/lJG0Q+4llm3Iptc37BhgxH26A/EQV3AbB1II+rx0dBvPMYHkAnXlrjvzvFEJvJ5H2ayUF/TPlJGeHfKFP1J6iPafsJhkMAx+kJm25cNwhIXOgftLO0n5ZK46cNS3lw9RljKMOuxQeJzTD1H/OhS3Ee55NtggHHxYqOVZU/kTwzwLelnYki5Zs39snjxIiP1kR8M/pA99pELBlzRLeBAqLs/8YlPjJv2EFWId0D/vxPEdCb5f60sI51c92rG2ANlZbzCE/meyL8tUEGQP/qjP5K//Mu/HOwMOHCNSngoQMhAikIM0tDcSkB2okzhuoaNqWg0gnQSsXKAaMCqGHIfIoYODAqQg8r5wN77cIoUClc2ke8x/uHkFiUaBQgZQk7ppPKtkQ9ITCxz6ahAUiHTWqfY7AnKAjI1HIaSqRsFaRwpkQ+YwQIZglKHpTBWw8DJMu9EXLwz54gvM07O/eM//qNZ7EH+Q6SsW7dOfuVXfsXu82Xg9oLvoW2a/N//9y/KwprHZMaUuSpXt+4bUCKQEQj04EgkXzuO1KNJlRltTe0c+4H8QAANXf8HoH0I6lmULcrE+/ewYGLUypQDcdqvbrl5Edm5b6v84O3/IX/6p/9FPvWpT99wmeKZDsg8BDVtA8Q9v7QVdKqRa9oJOsy41KKjBDENSU0c//W//lcrB3SSf/d3f9faERfnRCgTfHOX99mg/cO9ELMTHCDzyAPaXAh/CB3ioJ6EnHAbs8qogyAfMuOfKPl2I+D9PZF/JShbWOIfO3bcZu7s3btPnn76aVm2bKmRWtQ7bk0OdDZkBmKZ9pcZL8wmw/rQtdkegU5OnYaegs7i6kCXPxwzIAIBS/6iV0BCch4ZZcO6E1domXKKHjR5MnnNdP6bG1T1GF/IbB9cG8zxeCfynbwPBc4zsM/gVfHAGliUId4fshS9jDD0cTmmbqc+oi4aDtxPXnIvJCy6D4MClCf6IOy7ckrcGBBQFlmTjrI8VLtBegjLQBvPpty6OEYKX57HHqiP/+7v/s7qagwS+c60g9TVgG/Gd0enpRwSrqOj03iP1atXmRzcie+KiOIvHoJckzck3PnriSnX2YYQ++uCZ9xgMfhAGO5dRvr84cLRz8PdDhjqOvl7vcGHuwVOxxmP8ES+J/JvG+is/+Iv/qIRIBB61wMNCNu/+3f/Tn7u535u4OztAc/FugvrZMgaCAimFeNrHmsklCUIhocfftgUL8gazjmo4FscKE10dFCwnJU21zzGL1B83C+ygHUN3xjyW+s621DcAd+acBDgdFYgJLEARPnmWOsaI6ggEly8mSCumwXxjoTId+l074TlDr+QkexzXutCU/TZJyznXSfCvSsy/4Mf/MDC4dIAq0j8Ff/Mz/yMvauX/9sLvgk+oX/91/+lfOnR35aFdfMk/j7vfVvAF79aum89VDxl444t8qV/eb/8+3//R/Jv/s3/c90yla3Q0W7hrgOrctxCsA8xTXmCYKbuZ2CXjY4PHXYIQgdXLgDtANcoR6NRtscLyFPWSfiDP/gDc3PHoPg3vvENI1ppZ8kXSAwGRZgdxz6dSc4z2MmAIjOXWBuGQRJmyHFvJu6GthU58kT+leCbQ+RDQlAukZdPfvKT1tYgE+SZK38cA/IOUvnVV9fKnDmzbVCJc75tCmQMUpG2HX1hqHqKvCIc1yi/6AkQQcxwyM2NWh1Im09ZhTRy+UqeO9d8Pq/vLjiZAU6mOB7vRD51Skz1KxXogTPvg/fpUl2ZeimqbX6e6gyUB14zFGJRTtzAMquvjdBGuj/55IeCsnGN4sElcor4IfPRRVJ6Dxb506ZNDVx+cF3z3Fx9avtJmCvKskYQ02dzf9PlJunrDdYRWbBwgaVtqPcZDtyXlxcY6fhyPTZAeUN3/c53vqO66T3ax6wxrgKZce2gA+cYcOI7njt3Xs8EbixpR7PD3mpALu/Z2SsnjvXJJz9brv3I9+sEJ/eAhV0P7e+XBx65co0txI/y5UJfaoybH/tFS4Z2Xxvg/Zgzie0dW3pssdzyimDGLLJNXgXhwZX3OMt8B1cWgntA8BwIdk45lzcNx/ttPYDFywqsHAenc2Tb5m6ZOTvPFrB10CfpleA+F/+7b3XJfQ8W2eK8wRMYLBS9v0dS+izCzdB4WGfAgXCnG/qlqjpifvMHorprkd3vG0/wRL4n8m8rIMV/+7d/2xYoRJl/v4K7EhCdFKxf+qVfGlwU8HZABdYaLtLlNgcUHkgIpkoyZXjbtm1mvUxasbLEHytTtLEyhMjl/QDTGrEIg/R3Vpg8x2P8AeWIjgcEkyO7UczpuGo9N3iNfTqskAp8a+QIOYFQd51eSD/CQMxgKUOnORvEc7Pg2SO1yCeNKH905CHN3nvvPSPduI9OAgNbvCtK3/3332/lkns4B7EPScnzvv3t/2MEPgMUdPQJ9+STT1r+edxe8D0ckf+5B39dFtQtvu1E/p0CRP6mne/JV3/7EfnmN/+j/O7v/qshyxRy6ep6OjDU65D2bHSusU5FtqnnsWxjQTAGuCjDzrrJgfLltkwQP9tQ1+4G0J7z3tSPuA8AtLVD1QnUJZB+1EWQ+/htRWegHmPQlPaVmU/UUdRDziUP9TEg3omYx8iPJ/LfB/lB+4IuxkA6BhfMcHv00Uev2Xa6svid7/ydylO/fO5zn7vCkvVuBXnijA4gVmm3kTPyhWuO1MmsLwE6APd1dnYJi/yDnTt3aTkvtbrSxeGJ/LsXmTLjyibH45XIJ61s//E//kfZvnW3FOYXXslKDMDeSS/Q7tEGVpSX2/vjLhDCnMsQgQxE0l8gn3BHaReGg3uQBsnR/TRB9TemeZmXr2UruKqXgzSmbAajaNnMlTQzJfUc6wYxg4nn5hcUSm408C2e0uvu/uvBpfDS5QvyR3/8h9a/tff1uONA1p599lmrc1kv6pFHHjYd1tXhmQi+e0q2bNlq/cSOjnaTV3RdPAmMRj90JEB0+vvT8se/d0HuWV0ohUVhabwQkwcfKZbtW3pk6rSI9p/Ttvhs3cw8W9yWBWDPnNIwjxbJ/t19EonmyKTaiBzaz1o4ObZQLIvPXjjHDJaUfOjDJbJ3Z680X47LkuWFtljsqZP9suq+Qtmzs0/D58r9DxdLf19K/s+3miWZSMmCxQXBorTTo9JwFMPMhHS0p+TeBwpl83vdsnR5gSxfWSCvvNAhFy/EpbwsLP2xtD1r84Zube9ypGZSVPbv7dX+Qkg++5UKW2j3tZc6bNFZBt5YbJcFfCsqwkbAz5mXJ8cO98sXvlqu5Totr77IGmAijz1VIuvf6NRym5aV9xbIsnsK5f/9o4t2X/3MXCnTXxa23bebdRFDlh7a2inT9JqmiwGDM6dj+k758uPvt8nnvlIu996PEeJIS/3EBOVlvMIT+Z7Iv+1gmh+L/73++utGjgMaEhUW2yhQWNz92q/9mi26cjvB84dq6AAKVqaSggKKWwA6j1u2bLHOJEQnxA4Ew2OPPWbv+p/+038yZQmy8z//5/8sX//61+0ZPMtjfIBvr/WYEUlaP9i3hIziPJ1YziEbEEnIL3LNdEX2IZ0Ix/cmDLIAUY7LHcgD5AVla8GCBQNPex8882bBM0dK5JNeCDPIETrgyDVWddzDu/X2Bp11N0DBewPidoMaKIA//OEPrcPOIACDWMT7qU99yvLB4/aC7++J/KuJfGTSAVcb1N8M0CLzlAHyDYt7R9xDEEIeqz4wcNe124tM8Cye635HAheWdFBustuMzPPsZ6eDa+5+cCPPds/KzKPRwHDvkg3CuHQ7UKcyG4KZcVjtQ+4zoEg7jMU+MyIgEvheWO9D7Lo4rve88QLexxP5V4MZYrRFEBeUWdw4AZdHmd+fMkBYyjGzQxmow1KRGZYjLR8TEcgW7+/W+WEf4oeBM1cPoPMw046wmeWTvGUjn2n/49rA5OcHMyL4BhD33IcxAANunsi/+5BZp7tyxvF4J/J/4Wu/IF94/F/I/ClLJXGN6sO9m5YUK1+Q7JntK9ddORq9fHBljPgon8TNdwjOssOuc3N4o08lfFjVod//09+QXSffkuee/Ym5brmb69GxAL4lMvbXf/3X9otbHfSi4epcVzbpl6ID4xaVfiptJPfdru+JXELkP//DNsnLD0l5RVh1+BzZsbVHZs3NM3L90sWERPWciqyF7+pMGkFdVhGRy00JmV4X1T5qUmbPyZMD+/oCIdX3njSZNVlEzpzsl2UrC6WrKyUnjvZJb09aqiZFJBFL26DAF75aofGmpelSQl56rkNWrCowUpxn9vdRPkVmzcmVnFCOHNjLendh+dI/qZTGizF5a22nVFZFLCwDB9Pro9LUmJCzp+NSURW2wYld23o0fIXF/9wzbXLPvYVy/Ei/7NnVK7/7e5PlyMF+OXkCC/20FBblyM99vVp+8N0WWbKiUA7t75VjGvYTnynTZ/fJ/EV5Mn1Grrz0bLvGUyC7trMwvdjAQWFxyAYLyL8TR1nPLiWf+WK5vlO7pitXCgpD0teTkp/+2UrLx7sdo93XuZ2YKES+79GMI0CG4C+YRuYXfuEXbME7GpoHHnjAFsT8wz/8Q/n+979/20n864FOicry4EbHBCt83P782Z/9mbzwwgvy7W9/Wz772c8aifvHf/zHti4ADSLAEvub3/ymkao0nOO54ribwLeCdMdKFwIbK1w6o1q5mRwgF3RMIbNRhjhmn3D8ch+dYeLhHs7hFgKXHCjWb731lsVPJ5d77yRIH+9GZx4E7xO8JyTa4cNHbbAK0hMyDXcjTU2XLd3WEdDNrSvBYAcWQLwvpBpxe0xcoAyyjVUgm4B6lw05ZYHM3/zN37SFvVjD4bnnnrMBqN/6rd+ywShcRFGP0xbh+54ynNkGjKS80pGi7BCWgV9HjLkN8OvaBHcON26A8JDXDPa564SFMIOIxGqd+iPzGu/KgAQECecoe8TnnpH5LDaQecwANO2ZuzZacHXm9eoC8iozn9moYxlM+epXv2o6AutwvPTSSzZQ/qEPfcjqzz//8z+Xf/bP/pl9T2b+8Q3Jc+LLfD8nCx4TAwxQQzoj165MUm4oGwzKoXtxDb0MAxLkxhmSsDFzzLdPwYAI+ip5iR7AwDzkPb+04dQn5Fd2+SHv2DjPOiHMxqPtp+5DZ+LXzUT0+ewxkUA/MBrOk0go95pbOCdqWyRHdeJooeRFC666zu9I4hr5RlwuvjzJjeRr/BnXB9KUq8+MDt5z41tuNN9mq7u+rsedBfUwdTl6J4Zk1OWZup8D+2yNjZdk165dZozFLBH6fwzIoAfSjt4ufYnH9HSnJBTGgj1iBPiphphUVkekdkpE26Cw5OXnSN2MXLOQhzQvLAyZVfuM2VFtp0IWPhFPS3llMAgQURUWlzdTpkX13URqaqNGsh8/0ie1U6NGaONeZur0qEyaEjUrf6zjIdKLi1WX1nTxPCa1xDXe5Svz7Rnnz8bMCn7GLIz3cqSrI6VpCpt7m9Iy/c0PmUV9R3vSXNcU2PmQlJRquvJC0qfP4L1OHOuXRDItDzxcKLu399rgQDIBT5AjFZWB0RCDGgf1PPcww6DhRL+cON4v9frsposJmylAeucvzJfebnTlIP94X/rvk6eEZeacPDl3Jm5ugkjDshUFqg8l9PvSbttjPDzuKBDDbFG0Y2+RP/aBYs+0XM1n66zfSZCWkZAz2aChy2wg6bS89tpr8sUvfvGK+AgHSfSVr3zlCr/6hPEdnLEHvheKDAoNVpCOkKZD6hSjayk5hEGhwjUHZAHkNvdzDyTDO++8M+imA5IB+XduJwAE1s2CZ43UIh/wvli7rlmzRtaufc18bjL4huWi1o0WBhKRDgyWsAxKkGbSzrMgSXjEokULLf2OaPzYxz5m93g5v73gm1zLIt/El0+iv5mfhvNXHOuW+eWsztK/wcVr9Vuz0Rngvsx4DbpvhwPx8oslGNNKtYkdfNbgdd0fOHXFPS7cSJBpkf/H/+GP5Wu/8DVzF/Xqq6/aTBGIKcolVkcskMkMEtznUK4Bsuq2mwGLtT/00EO22C31PuWBDhZl4yMf+YilBUtirK2xiqI8UWZJG+cob1ibU+9wD0Q1na0333zTyiBhPvzhD5sbGlzNUM6Z8s+gMgOJ1F2E4d34PpBt1EvERb0AEc6gAOWePIB4Yx/SfCR1xu0GMu02B/IIMoH3WL9+vfnkp96lzmYQBj/ouL6jLnPtLu/1Qdr7OwXe11vkXw3yhe/Iwn58X8oYbhxpy5Bfyo6bLUa56evTTnB93SCxjz52tw82k4csdknZIM8A+ZFZxshjBvLdLEOHofRXd5+LA92BuojvwDO8/N5d4Hs7mXB6Lcfj3SL/l375l+QLj/6GzKtdck2L/IkIvhYW+d/4778pz779v+W9dzaYcdto9Fs8PjjQX9GF/sf/+B+m16JHovMBdMvCwiLTuanvWSdm1qyZVqczgEsbuX37DvmZn/mq6crMVEPfuB3flOIPsdzZkTTreKzT+YUYp7lg4dajh/vMBQ2+8yHxT5+MGRkPcX/qREwmT4lauMLCHLO6BzRNkPJY+0PA79/TJ22tSfnsl8ulvS1p4Surw2Zxv2NLtzz2ZIk+DzdzKXsO6OvDYC9HnxU2y/gKfV6Qrhwp0rgZgCB+0gmxz3swg6C1JWnpDev5opIgHAMQPP+Mpn1qXVTbT4wRwloPJsz1DYMGuMhhIIL379b3wGq/bmaunD4VkyMH+qSlOSlf+7Vq6e9lLUn0WLGZAMSflxe0rTyfQkqacLPDO/Bc8nnGrDzzkc8gAIMMd7HqY3B9vvGIiWKRzxcIStv7sOMlS5bYr3Zac3p6enI0LTmawBxVJu2XjXP6MPvVhAyeZ9MX0ncN8PWvf/03iMtjdIEyBLmgeT9w5s5ChXZg78bAfW6DHME9ENPUIIEd5syZYw3sd7/7XSNhsArl3VkIl18Vs4GQHmMByCakG1ZldD75tlov2Hei4nfK/HAgPAQ3GwQd/rf5zliuQDRBrEEyIfuEoZPsFC7A/TcL0gdp555xPRAe61/C8+642UERRJmjg48iSKcLAh/SBALEld3NmzfLwYOH9NoUs2zmfZBt4iHseG4sxyv4nvg9ffnlV2RR3f1SXcai2yguIoca9srp88elqqJWXt/wnEyvnSmRcDDYgg9X/KiCeCJmizAB4kurptnR3SbtnS2SnxvMRNm0+y17TklhiQYKXE4l9TiejFuZ4X58taaSCS0/Ye30xqWjU+Wrp0PycvMG44/F+21huJg+36WdxeTsnP6GbGr48GUuE7zj2Ytn5Mev/42VP1UezEqb8seaDVjh/87v/I58/vOfN9dW2QOro1H+kHk2BrgoAxAXWEqxCB0W5tQBDJLRVkAyUlboTJEGrOhx0cYvpDQkGOf5ZVAMspIySfkkTmd5DJEJSckxbt4gtiGAuZe2iedA4lMfMYiO+ywGE4iHNWC4j/PUF8wsGo18GG247+M23ovOKAMRLNLGN2Uwknoo6LC+alb8b7zxxuAMCSzVnCU321h8z0wg98gHdfBIy8DdAtog2ht+3bouWONjWUhbRZknz5B7ZpIxeE4ZIgxlnzZ+rH//WwVkn3Ye2cIncjbINyzxyS8GGKnPKG8OI8k3nsE3QF+gbuF+L8N3D/jW7ns7eeFY+90mWxi5jCd5cO/DzLXFMx6QquJJqsMMXLxLwNfSYi3rtrwqh07uMEMJ2uC7tR4dK6CuhVugTkfn5HvAOzBrEcv7urp6rYcLrS6fO3eOlT30PPp16ESbNm0cvA9dFFc7t+ubQqqbJbyWLUh5iGwI9KhuXKudmmsW5Vjnmz/8yVGzMicM17CKLygKwrJfVBzW+DQs5L7eg7U/fvEfeLjI/MZjjY/lO5b+EOC1+sxijT9M+ELcwnGeNAXpQN55Tll58EzSRdZAuhMei3zOY4VfWhaRSbUa30A6IPhxeQNRT1ji4T2Im74KcZIeZhhwDqt84iZtpJV78GWPxf7jTzNLLiS5+iys/3kugw48y9Ks97jn8t6EI1+rqqP2DKraqppg0OM2fdoxDcrMeMW3vvWtdfqT1jKjkvX+r278Dm4D54c9dpvmhXbH02n95cficcfab7riV9vvtOqDadW7OTYdT/XE9ADnxDXTG+G9APofwKNDNmAbsjUAO/ZEvseNIpDbmwNxILhYAUIgsf/xj3+cAmdT/yFvnDUY5NLatWvNKgXiBOKTzqiK3EBsHncKKBMoQHQ6UYq0TrBvxHlAJwTSK7NTmw1kgYrMkW+QZ1RiyAREExWdC0fl54gld+5mQVpvhMgH+J7mHsgN5NHNKHCDDFTW7PM+Ln7IMbbFixcNyH+e9PcHa0OQb+QReTAa7+QxcvB9hiXyj++TA8d3SkF+oby5+XnJjeZJS1uT7Nj/ruw4sEHaOltk5rS5snHXm7J5z9ty/tIpI98DYj8p7259RU6dPyEnzh7S32Nm+X/o+G653NYom/SelvYm2bbvXTmoz+C6tv7y6rs/lN7+Xnlv+1oj7xubz8r+Y7vk3KWTsv/oNjl++oA0tVyQ7ZqGo6f2yalzxzSNO6S1vVk27HhNLl4+K/NnImMDL3gN8I4Q+c++/jeq1BbJRz/6UXOlw6woyF4G0ZBL5BO5vFWySVnBHRWWwRCJgA4vZKIrRwz4siA67QJkGuepIyAnKYd0tBgcwVUMVlIoRLQZnIcIITzlElLelVnaGaz0sdpn3w268SyITo6p1xYtWmTnKPd05iDaqJfozBHXeCiz7vu5jTwj/eTppz/9aVujg8F1yEpmQuE2CVdK1FnU49RNbNS9Y7XtpSx7In9o8M0oK5QlygTySz7RblGOyC8G0bjGegrIB6DtwlqcMjce5PxWgXqJtpp6ITsfyDvyiDzmlzrE5R8Yab5R11DGgjYJa8fowBWP8Qa+IZurL6+3EdYh8xzllHKZWfdea8uM507Cvf9wRL4mVa9TNgZOKDgeLvnXuuZwvesOLi4XnrSQDjsXnDJkhskE4UcCbiWsJ/LHFignJ040WP+L+hyDEYxUIPHRgaZMqbUwtI0Q9ehC6IK0gejDEPzoGejH6KMQ+bcTTnz4dZuz3c0+N7ivoF+TeTzUPuT3zNl5Zk0PKe7OsyHLuLFhP/MetzlQziHj7VzG+ezw2ZsL436Huna98wxsYE1fUDhAwGdcyw57rc2F9QhAeRivmChEPu1JdnNkx961zu0DnWGIatzJ8NH+5//8nzY1n4bjVsA1NlhcjRaQWToYowWEGMFmSjFWkpmAlIE42bRpk7z88svmEoBnQ9LghgR3B5AvFILRTpfH9YGSTmWEdTpkFvINYQYZDjHGN+Ec1rK4xeA8564F4qSy41vTEWaGRiaQaeKBgADEf7PgmcSLgjZUJz0byBkuQBiggNTDopUOPsQgMsw+QH4Jw0AVHTE698g5yiDnkFvSD8FInJx75JFHRuWdPEYOvv9QrnW0apIdBzbLkQZcUPRrA1sqNZVTzEK/tKjMLOYnV0+XFQvXyKvv/FD6+nukWq83nDkkX/3Ur0hL2yV5af335WOPflH2Ht0m+bmF9rzC/EIbDEikErJo9j1mud/azjoKSZX9sJw8d1gWz71X2jouW5zMACgrCSzhIfM/tObT8pO3/l6mTZphAwvRSK5MqpoqW/eul/LSKpmkaXj8vo9d0WkeDugOzrXOH/zBN+Tf/bvfG7gSyPn1ysJogvJCmYAk57ns0z6wkRY22k3aNOoAzgM3oMY9lEsGFnGZQx3kyh2/3EtYR5RBuHEO63vqE+IH/BKeOPkF3INPfc7R/nCe9HJMfTXewTuQJ4D3Jw/p1DKAjgshN3jCwCoD7hC91Pku/O2Uk2uBd/Cuda6Gk3e+KeQEAzi0M+SR+3aEoXzwi1wDp4NxnkE2JyN3G8gHBggXLFio9UmwpkY2KAfosuQRhDyEnZPBkZYRdCn0Ceo+6iXqMO71GLtwZWKo+gbXVcgEejG/tBvso+vxC0mIjoh8UR4Jwz0cEy9tnCujbkCbjj7tEfoq5CPHtGO0iZxzv659zESmLN3qOpv0sw3lWoeZh62qA/FuVRU1EtIsRF+hjsINRkG+KiZkq54jmXG9kdmLiWRCda9AjyL8QBB9jh5r3F292r5rfgRfZOBasDuIeCJYX6Y/pmVVn1+YXyRHTu6TutqZmp6w5OUWaN7p99Qbe/sTlk8FecGAmj1HI2283Gj3laiuzzlU9qGyk2d71zpjD5QNdMUDBw4aCf/0009Z2cOYBL6EckYZo2zxrUxetOxyjnvxFoBhB3omM0UxgBmqvN1KIHfInPtF2JA3h0x5NLnVop+jVRRhuIb1O2VtSLl1cSr4pWrjN3MfZKYBFzqxGDOKAxc2HhMLt1u+RxMTxbUOpSq7ZNmxJ/JvH1DOsHT81V/9VZvCDun3T//pP7UG4e233zbSEjcBdBiY9gUxyLR/3APQiYbkg0yAyKBjhWUhx48++qhZLtKBJR4aIhbG/dM//VObIv37v//7dn00oAI7qh0LFD2n0EKKZsbNNRQ9wHNZ0JDG95VXXrHRKpRV/CrTiELq0wFyYX3n59aDPMZKje+Wl8doYjANGDmk08EURK0rzBUFg1V8L77N9cA3h/DG8t59UwcsbLW+uWNEPmF5pxdffFHDlmlZm2dpoPOEoke66VyxTx4QF/nAPoQIeQMJxqwDNq6jLPJOTOuk/I/GO3mMHME3vZrI19PS1HJR9+PS29dt7m26errkcMMe+cjDPyW7Dm2RaZNnytSaetlzZKuFr6udo528s7Jk3irp6GqX0xeOS/2U2dKsnVZ85edqJ/H4mYMypbrO3PIUF5Xas+lU0mZ39XRKa8dli/dy60Vp72iRosISla8CyY3kaSe1VMpKq4z4b21vMiK/rKRK05avnc5uffY5qSitlnkzF2n5DN7vWsgk8v/kT74pv/M7v3vH5I/vQHnIrPMzy2Lm9aHOA+qkzPu5lgmOXdswXHzAXXP3cw/77jxw+9n3jnfwXi4PAXoIg+ksOv7uu+8OznJgEX7WL2ANE+pqQD7dyfwg7Z7IHxp8m+3bt1t7zcC6KwcA0hj9FDIDEgN9ExAG1zoMTnMf7dTdBuSIMkAeMTNnuPqRvCL/CE9bTh67/BppuYDIh7znWzCgiY6Rm+vXzRlLyCY0+FbohJDzDIDSd8MtHDLDDBgGQakzIezptyE/ro7l1+27+sqdc3Cyw5a9DwjLwBt1MHomG3ozcsRgK2UZ11n8cgzpj1y65zmMVEZHCvce2UQ+j23vbJe17/1I05InNRW1ZuRQN2WmnDp/3IwcZtcvkKbWRlt4tkL1HdJ6+MQeKSwolnzVhfr6e6Va7+vp7TLdqLO7XaKRqPTFeiUvmq/vF5WE6lUlJRUWJpQTlli8V+8vUX1sjqzb+qLqUhVGxi+df6+8+PY/yCOrPiKXWi6o3tUos+sWmP7V1d0hJcXlUqT39esz+zX+SDRXDp3YLQV678LZK6RNdbGl8++TsuKyq4wn+IqeyB97oAw7d4qUEzgE5J/zyBr9WkfkO7iyQRjcT1Le4V4o3xh3uP7e7QCPwVoeMp4FZnExo9WQnaN8ackTvH6yn0ikzQ/9gb198vhTxdpG4c42R3Zt75V5C/KERXHfeLVT7nug0KzwiZsw+NDfsL5bFi7JNx/3+3cHvvdrp+J2hkHGwF8/rmdwxdNwPGbW8PjYJy0PP85M8yA9xHmbssbjFiG73RtP8ES+J/JHDfqdzd8wSh0+R//Nv/k31gj84R/+oRHRjOwyxR0LZiySIfaZ4v7lL3/ZiMPf/d3ftcVZuBdSUPPdCHqIUq79h//wH2yxOjrbxMOUeDpu//bf/luzwhoNqMAOKpCjARoEOiyQmiiaxD8cXEWCMgyRj09liH0aY96PRWtokCEWUGzBaCunHu8Dshr5ZVYEsu1AfiPDfE++w/nzF0zJKS4e2WJ5fGfuB9kDUHeayAd03JghQhpInyPxtV60QTY6+4Shw8T7Ex+bm2XAecLSsSP95A2dMMr0kiVL7Hg0y5jHtcH3H26x20ApVuh//J65eMY6dRWl5XaNz5TULULVpAE4DpRn4kWWkdHgHE0yksWiTq7Dx/RTi5vIg13b5zrhLl5usg5qlclEcL97ht1DnGwD97FxPNJikUnkf/Ob/1HbkX81KmXqRsE3cGDflUF3nmM6WJllM3s/8zr3UYY458Ax5znHO1LPEJ4t+5mu/Lk43a8LA1zcLqyLw/1mhh3PcO0u70k9iZ6CpT5GBAzAY93N4sLoMPhep3524W93HpD3nsgfGnxHvh2kHm22+zbkGe2X6vdG4rPxDblOOwUpWVpaIpWVVRNGpm8EyBHGNQzQQ4S68p4N8pE2nXzEOAX9gAEQ7h9pWXBEvrPSRrcgnrsx38cC+HZ810ygg7KmCIQ9fSxcs6Gvcp5yRNsCAegIdeSGjT4Kv5xDLth3+iD6H/onz2JzbTD7xEncxOcs9vllYIm+EL/0n9DF2adO5peNmSH0r3gPZIl0Uf7RW6m3GWxigI5zzCBxdb0Dcue2G4V7l6GJ/DZ5c/MLtp5Pd2+HzKlbKN09XdLe3Sanzh2VeTOXGqEej/fL5z/y83qtQw437DW3gZOrppolPS4Me/o6jbjP0XhsdqJu3T0YUJyQ+1c8YQT/2YsNZmXPTEVcJK5YeL+tV4TxRG3NdKmvnW2DCovnrLZ6r72jWS42n9M0ttpAg768zJq+UHWypJzReAsLiqS0uNIGAS41n5f2rlZ58v5Py8zps6/Su5AcT+SPPSDncCvU6/T5nnrqKTO4op7m2yDvTj+kPFH2XBlApr/zne9YeMLAx1Bv347Z1PpoI89ffLbdfLyTlqZLCVm1plCOHNQ6oTlh/uM7O1LyT36+Urq7kvLGK53S2BjX9EZkcm1UzpyKGTn/w39olZ//5WqZuyBPvvmNizK9Plfmzs8z//Injsdk0dJ8Obi3T+YtyjOS/tKFuJHzpxr6JTcvJDWTonL0SJ989ovlcupkTJ75uxb5yCdLpbkpYf2fL/5MpRw93CvnTsdlocY1uTai+TvwIh7jDtltw3iCX+xWN87pw7yP/FEAPmc1q6xRwJocK3MagV/+5V+2SpkF9VC2IPHpGNPQ/Nqv/ZpN+ULpwjrqF37hF+x+FHymdrFyOsohluqMIqPAccyUMTpiLFo4muDZowXemTSirJL2a4HnsqH48m4MWuDHefXq1aawYjH4/e9/32YlQKjS+LKpzNpzRjPddzuQYUgdZJCOfyao8LmOdTpymEwmTCYrKt5fpPZ6oIPT0HBSOxhT7NsBrW+sg8v3pNMDRuObEj8dIuKlszMSUG7pjPF8OkB05LifzjezD5BRjkkzYcgTOmCAY/Z5B0f405HDgou8JM+8rN4+8P2H8pEP+Axug1wvKymzxWvZJ8zgZ1IRdTq8a2jtnox4AKLs7rPfgWtuc/ECW/BJO4tY2xM311w87n53bvD+gbhHCnQzfOT/cO235cMffloefvgRvf8GIhgF8DzaAODKOPUHZcMRJtQzzEyjzBAGogzw7QhHuaHD5dJOe0BZ5hzXCU8ZIz7aCSyoGIwjbtVrrAwSL8/lHu4lbkgQ7oesAa7Mcg2rLdpr6kFIGtJNOqhLAOV/IoA8ZeOdaaMZqKTdZdCc2X/U8+ge+JHFiIC23LW95OftBGmk7Ude2Pe4Gsgl3xNZ5ftACiLz/CLDWBVTFiA4sCynfEyeXDtw990H5AiilHb5WmWavKQewwq7uxtremZSBfWIq5euB/LfkbvoTLj6oN7yuDVwuqqrp/hW7piNuowywMzmH/3oR/IXf/EX8r/+1/8yIo/BTIh8ygqzqzEkwujq53/+522dL2Zb//RP/7S5UmXmEmuR0Feh/qR/Rx+GdgO5oqzxndn4/vQB2TimzSFdhGeQh3sg3omDWdkrV660Gdj086iXP/OZz5gh10/91E/Zxj4kI4QjdTJtI+neuHGj+a//8Y9/bL9sDM5Sn6OfUu55Lulx+cHxSEFYtqF85EO8o3NBrs+YOlfqdevq6ZCZ0+fLvPolUlU+SabU1Ov+YqmurJWCvALVq3JkUvVUCzupcqpMnVQnNfpLOEj/xXPvkdrq6ZpfhTJz2nyZNX2BuUIkDBb20yfPkKqKyVJeUiX6JlJZXiO1VdNNv8I9Yd3U2VJaVC6sb7Rg1jKLa44+f/7MpXZ9dt1CqSyr1vTOt2dXqp7I7McpNXUyvXaWytLVdQO5pdnmfeSPMSDL6ILwK5QxyiDEPN8FS3vqcepu51bOXXNlAD1nwQJcFrOQar4ZaTHT+lYDWWprScr+fX0ybXqu6qJpWbg4X956rdMI/NxISOpm5srpkzFZfV+hWdSzeCuL3zZeiMvxo/2aXtqptFTXROWJDxfLpcaEtlkJufeBQnlrbadEoiF57Klief2lTkmrALdeTsgnPlMuhw72abyB66vurpQR+k9/rMQWmW1rUR08N1hM9uJ57QPPzpX6mfnScKxP1r3ZqXkc+N33Yj9+geyPV/jFbnXjnD7EE/k3CRQjlD8s8VEQsSjHepyRYfyPYl1OIw9RwMfFUmLz5s2mILLoK0obDQZ+arE6Iw4sK5gixhQvrqFEYukBUUFHAPIDJY74RguB3I4OaBRHSuQ78Hy3Qaai0GIRiO9eLM1ofJ999lmb/uYKA/nqFFKPmwd5H5DzFVflKddQgiCmuUbFhMUznZWRAJngvnPnztp3c51nzre3d5jiRPyAZ90siPdGiHzKErNgqEK5D9KoqemynadzQodL68Yg8ABIJx0krlGRcx1ykY4VA3ncy7VDhw6ZPI/Ge3mMDHz/4Yh8RFsv24bPVBpL29fztul+TGW7raPFfLN2dnfJ2caTNlU8Lw+XCCovGo7qt6OzXTq6OyQ3mm/uerAqw6+kewZx2abH8XjCFtLNz7u1JA7pupNEPnlPu8hgNFaHtFd79uwxMgx3LpQRjgHHtBUc46OUNsNZItIZ+8lPfmIEBJ0z6n0I9q1bt1q7iPs6OmuEh1hg5guDvrQfhIPYYCMunoNSRblmoXXSQDwBsRYyUp/yz2Ae1sq0KzyTsusWxKUdop6aaOWY93HvROcW68LPf/7zNqhO/vL9aHcxWCBPyMfA9Vqe5d2tzg/kyRP5w4O2mDaLjXJHuYHYg9SAzKdMMXhFx4KywTXaKMJNNFkeKZx+QB6gIyDH5B1tuNvIG365Th6Sf+jxyCEYad5B5PMc6g6eQRyUIacDeYwe0Lkg6BnQpd3AXRig/qC+Z2AS0v7P/uzPzBUqYfmuuDvFgOpnf/Zn5Zd+6ZfMCAuy/MEHH7Q+GnocdSHlh/BONvi91oacuTqLb885QJuH/FF2s+8ZakM+aZPQtyH+SQ8Drvfdd5+28R9mFr5t9JdwjwYBSXop67St9DVp96jHMYpijRQGvEkHaeCdXDlgGw7ufYYi8nErWFs9VWoqJ0tVWbXKeL5Mm1wvlWVVUl1eYyR7dcVk/a3SOEI2K5Hzk6pqpaSw1FwMlpaUa5hJZh0/rXam1NXWS1lJpUypmS5TJ003NzylrGtUNdnWDuKeYr2XWQD45edeZlfiqgdivkjDs02pmabxlJvLH9z6lJaUSbWms0B1serySbZeEWkgriCeWpWlocsnX5Ms8kT+2AJySxlHH4QroZ5Gn0HGkVl0UcosbSEGlJQ/6nWA7KMDLl26zOpnNvRVvitl7lZ+W/oLWOBDrs+ely97dvTI5aaElFdEZOp01oBK6W9UOtuTsnxloZw9o/rwoT453RCT+Ysh0nM0nVEj/w/t75MlKwrk/Jm4lq/AFQ+uenDDc/5sXKpqGEQOWZznz8c1b9JSUxOR/IKQzF2YL91daVnzQJFZ5zNwcPJEzOSdtydMby/rCqRl8pSIrFil/aF8verFflxiNPnDOwFP5OvGOU/k3zz43lT4WGSgVPGhsJKAwEZpRPnCigNlHgWMhoGGhBXVaViw+qDRoOHhl/uYQo7iiTWGfg95/vnnbUQZa38sN2isCOeU1NFAILejAxrNGyXyM0Fa3AapzIAISjWzGWhwIWVQwlHWyReeQb6ouNo2mu9yt4BvRiVEZ8N1VLNB3gLkFiCbfA8InevluZMJ7sU9T2Yj0tnZYXFTVsBofD/3Pi591wPPh/AjjSx8xz1aDUpHR7t1wLGWGipdDL5RprkXWYVA5P3cs1ECGagoKgoss7xs3h7w/Yci8vW0XG69JPuP7FAlNyJHTu6X9q42aWy+IMdPH5Jzl85oOHxERuW1Dc9Kfyyu187JmYsnjKRvOHtUO4j1cuzUQd0OSVtXi5w+d0wONeyW/cd2WEeQZze1NEpL+2U5e/GknG86a2WFhWsvNJ0xSzJNSZDQW4A7TeQDlBhmmkG4U6fQRqLUQJzff//9RgpDnpBXtHvUCxAv1D0s3gmBQvmBSMdKnraEwTBICcob99BOcg/hiMetJYNSRTmk3aB8svH+xA0BQpogOGk33EAAs29oS2iHA+vbbns2ZZrBOtprBtj5jhMZ5JPbyGe+1ec+9zn7pW7EwIC2l0EX8sgRS7ey7eXb3giRTxjaF36HSg/nRyOtxHO99IwkzM2Cd4GYR+4vX242XYi21FkGU+5wucHgC2WRvGT/Vnyr8QK+CeXedbDYR0dHN6ceYB95d7N/uE4+ohdA5oKR5p8j8qkTY9qeMJuRuB2J63HzcPXP3/zN38jP/MzPWB31ve99zwZlmVn0zW9+085R91PvYwjFLOjf/u3flp/7uZ8zAhwreAg+p/9S1/N9htpGiszy7+7jmHLIYDKyNNL6ITsN2RvyRXln9ihEPoQ+xlDMIKD/xMwB1/8kH1599VUzjqKfyqA7s3aQVdJDfUId6vKVczyDX7ahiHyQkzEGgAGD07ncG7IPuMZJO+Z+/U3r5m6PqO6dH803F4cWdgDufsJb/Fmfwj3LXePX7td9ewz7utmpgXvtOucGNs67a0OB4JolnsgfY0AucTuMDGNMiX5CWaaupU6nvDmDK8Ix0I0+iHwDBvXou1E2nZwTZt68ebZ/q4DYFBaFZMasPJk0JSK1U6Iyf2G+LF2hbXht1Czhq6ojMntenkSiOUbqT9Iw96wqlMVLC2Ty1KhMmRa181jIQ9SXlUdkWp3eVxOR+YvyZcZMrOlzbSCAeDiHW5zVawpl0ZJ8C8/1BUsKLC2kqbIqInUzcmXe/CA88ZeWhmWGPoPnQOx7kR9/QJaZiYZRDrzleIUn8nXjnCfybx6aRaYA8qHYx7Kezj9kPkQ85DsflI4UxDvhIAUoTPieJSzHdLy47hYQhYQgDPGgkGGdTxg6BBDaNEBcHy0Ecjs6IF00nh+UyM8E6WIjDyFTsRJEOcX6kumxrDOAIkrDDKGDIuu+hcfIQX6hAGn5H9YCgTBchzyjgnIWZiMlqKnc+vr6VS767BkOTFlHlF1lNxqyiAwOVKrXJfKDdEH+NWmHvc3ej3cDWNYTB6ThUIAAhBS5eLFRfycb6UdnkDiJj3zCKoRGE4te8pC0jcY7egwP8ngoIh+/9yfOHpG9R7bYtO9YvN8WYjt4YpfkRnL12/fa4mjTp8wy36ksZtug4Qnb3d0h+XlFMm3yDHl7y4s2nXvHgfcG/N1PtkXTmPqdSCZky563bFHchjOH5PylU3Kp9YKUFJXrtbj5jr266R49aJLvOJEP6ERRlmivsAykQ0SHlw3CnbqD9s+VVdpDyhJlzg1i0wEjPHU/ZQvyn/LExnnaF9pFjqn7eQbnIDEpbxAlnONZtKkcM2jAL+WUZ9PBo47AEp3yTFnnGoPsgHQR3622zBpr4F3ZyBv0ElxJ4HqHfGH2AiQQAzJYslF38w2oN6njRjOf+EYjJfK5jt7BdyQdThfgPL9s6CaOXHXX3JYdlvegLs88736RbZ7l3pnNpcGFQ7aQY9oBFybzemb8gH13PTP89fLThYF4hqjj3Xgm8bk2kDJG2eIaZWQ0v9F4BG0+3446hjoE+aKMI8fUS+QRx+QtRL4zvHHfaqT552Qt+BZhO0afHane5HE1sssI35KZQ//iX/wLG/gFlE+Mnshr+k9f+9rXzKUpxP3HPvYxs7SHsOY6oJzyPUbzm5BONuDi5Zj26EaJ/JHApd89C5lDxlkHgvclHyD16UN96lOfMsKfugHCklnk1OkYjr322mtWx1NXkr/EQX3i3uf5F54fkshvaWdNgT7p0w0/84X5xao7tcn2fRslL7dQ+mLdcvD4XokzeN/aJKfOH1M9qlLDtkt7R4ts2v22hEN8j7Sca8SoIql6VY8cP31Ekvp9MKBgIVzu79B7cFPIu+46vFlaOy5Lbjgqcc3bju52m/nIoritGq/miH3fzq5OS1tXT6c+Q7+Dxt/cdtm+R2tHs3T2aNlUPTAyjDU+4GtRBXgif+wAmRwg08zQD96FOhvZpg5nAJV2kWPqBb4VXA11PXJNu8j9XEfXIz70QIxK+LbUE7fy+7K4bG6eSpY+gsVlWYiWc7i14fzgdQUW9mUVEa07VDdQOSwtDWlbxX6OLXJL2rkP0p9fwnMeVzzsc64Asr8Cg7XgOZD2ubk5gYX9ADjPfXkFrMUxsOUHbZ/H+AVtArOz/uRP/sTqfXQaysF4w0Qh8ilx75e6AHbsF7v1uBEgsyg5owUaEhpNGlJGuIMyMXqgkDhgoYnFDconU0WxmsS6Bj+SrtM12u83EcE3owOEwk/HfygQhk4o35ZfFB0sXyHfyOfrgTAMvuCeB1LNgbioCLHsBCjVNwvSStrogAxHwCFHKHUQUVTAiURSjh8/Zu/DfVTEEEgMmkHmZb8jlnr4JMXSCeIIsgurJp5NeCw8CAORSAeJThtxQhgysDca7+kxNPgGQy12i/XV+UtnZfOet23KNp3E3NwCiYTCMrl6mjagOeb+Zum81fL6xudssTWs7Du0U8pU7rraOTJj6gx5Y9OL0q7hevp6ZNHsFdLb163aQFqmVNfJvJkL5LnX/0Hmz1qmndFTFgdTwk+eOyqTK6fKQ6ueHkjlrQG6w1hZ7NbVv678cUxd7M47EBag6EBwQcIDwrj6Pvu+7PvZ3Dn2Ce/O8/7uujsHso8zn8E57st+h7sV5Ad5AajXWOMHV4JskJzUa7S7+HSmDgXk583mG89lVgXtjXv+UCAcz8PS1FnfMbODGRbU4ZBSzAhBqf7/2TsPwL6OIv+Peu+SJUvuvceOk9hpTic9QCokpBHiAAFCKEeHOzg4OO7gzxF6CRBSSSGdFMdJ3OLeey+SJav3Lv3nMz+t8/yLZMu2ZOsnv7Gffq/s2923ZWb2u7OzrLbAgAL+D18GyAWUB9QF0EXGER86BG6V+F4G8+QDHYOwDPJpm0z6APpSBhhe8B4TVzzDwIBBEhNRyDlkK7IFOYFc4BmAGWUEgMCEL/Eju0iT+3w3wPLhypE0yTPfSN6QW67fsLqovb3NrpHvlEdPruYMRaIdoYtQbvAbdATKjvZDuVOX1BXl7soRGU+duevutm1AIiYZAYkgJiQZ4BE3+sDx9o9Thagr1//hy7RxdCx0MPoi57hS8xLv0AcxtnJEeVN3J4LIL3mAnAzmmj5KG4NPuucnirzl6Ii80b7hi7iXg7ezog6eBd9Dn0Vnx28/fP7LX/my3Djri4dudltVIYvXvmO8Bn0Iv/SXnP0RWbb2XdtAFl/2MdExqgepjp05SNNskda2FgPbG5rqzZ1NUck+M4YorSw2wwrA+IIDrKgT1cOSzIUh+dcvkJLKQvnopXeaG5/6xlpZuXGxFKi+BTgPKP+xq2aboQWb4ybGp5i+Vt9Yp1/brnpfo3zkkttlZ/4WKSkrlP0leyQtOUv7frNtyjtt/HTTFzsjasvf7LZvEW0CWY7Mf/jhh22ijvEsfR03xhB9DowAXo+s5RnvIatp98h2+DuymjbPOJV7yFUMGPz69elkkPG7jqOn6D/+4z/kT3/6k8UJRjd79mxbyYZuGirUXza7pVaDa9aufSDfp6MhbbA9qtjCHHoTyPeSG1QxAMe1AhaCzMhr+7WVDPi9ZEMqNyPW3cHXqUTUl/Z/U3wAJboqH8Kh9DDQRWFiIMpgCqXHDVIPR9QVg1qAEZY2OyI9gA3ShpR32u/xEHntCsjnGWmQFxQ1BvKAOoTBEolfvhEwkecMYgBovPniW5gAYADJRmScE4ZyYZYboJ60GRRlZw/QN8IMsOE9rCaxLEZhhLoqb5+OnQJt+oNAPsRAr0EHdPhS5RdfqOYPtaMasN7C32tjU4O06aA0NjrOBpz4dSXeiPAwWbtluezZv0OmjDlTBg8cqvE0WRwMYqOjos1iLEp5EANGLPTZ2K1OB7fE1ZXv1Z6ivgLkH44AElw/9FJX94OJcL0JxpAH0nB9k7S4B/n99f3ygZAbgOdMpgOmAU5j8YnsdSsLoWNtg7wPH+4OkA9vxe0D7gzd5D4TrIC28HQAbHQFQDR4MXVJfgHzAbh5H7mG7GBDS8Ljwg/+Dr9GzvEOfB5LPWQZv7xL3kiLbwYYID/wf+TMJZdcYpNU5AF5CZALuMv93/3ud3ZOfpgQIDygBPKDcMgnZMzhyo+0yTNEfgAtSMuVPUTeucatBsBTb/afvk6UF3KaMqL+KRd0IMqd+sWogGe0Eyb5aRO8wyQPkz5Qd3XJYCAfHYo2SHvygfyuifL2tl8m5+hXDrzHzzsTc/QPXKKhU8GHcPvlCN0fPkCfOxnt3fsNrv9yfTKB/M6IPJBXR/A33EWi37KqgTJnkpE+MmBAlhxQfvf7H74iQ9NGG5DPJwDIr9myVN8OMyAf8P7y826QTTvWSEV1qfmmp61jqR8XG2+W7w2N9aZbxcckSlJiipRXlpiBBSslt+5eb6C+vtRRdqqXa9gY9iNqbTb/9mxMm5s9RJJ1fLcrf5ds37NRGpobJCUxTaaNP1v1tGWahvbf5CwpKt0niQmpqr+Fm2533nTlydvWGJDfqO8MHjhS+3yzGV6MHT7evqszorZ8IL/vEe2X9olhHxP3APHoJpyDBcAnHDmeS5hly5ar3B5qE34A9mAXjN8Yr4EjcB9dpi/0U5/6BwXLtsMRbZoJVWQGugg6Cue0U86Ra+4ePIjrznQTlx5pY1jocDLeISyTtA888IC5CA+Ftu4D+T6Q75OHtMH2qJILEzhRQL4jmBPpaju2ATObJDIAR1CzpBRBjGsABxZ3xuhOVaLcADqcZVpX5UIZo9wzwCUMA1PABgYkgN7K8zpCdk68D+CB1RRLH73CgkE1cXDvSPF0h4inMyCf+wg88sBgne9mIA8AAy1cuND8qiIwAUSSk1NUqRtm7dj1EeKgnTGYJC5chxAfgzKuKUcGnAhE4mcACkjDQAhFkfJDwWQwjwUI4Xuy//nk6qhzIB/SxwFx6pqgnrtWb888RNM5eK8jnC3V1nYaFRWpdffB51x73ws+703qaxb5tG3OIfoh50wA0i+CgQzOCePtr5B7j1/i433ANe65+1Bn4SF3H+Lc8X/OXTgXhnP6KPwD0A4+x0Qw4Ab9GPDN768BosyoYwieCbj21FNPmS99eCQW8TfffLP9woeho22LpNFdIJ+4cbcH4IrsZ4BDus7lDIN6fmk/DkznHvmFXwNysxcD8uiOO+6wcHPmzLEJAXQHrOUd70Y+cB9rXzfox2UU+WRCmPYNUS6AtuQBQJE2xLvcx9UFYdlQGXkEkI+MJf/IJYi0jgTkEyffSxgnq1x7duT6ApPmpMO3c8/dP5WIdkSZU0bIbNoAfZ1yhFyZEA4+QN3CA5DnR6tDBgP5tAun7yD7T8Xy74yoC3dA9F3KG12K/omVOP2NNs4EG/1u1qxZBuLTv6g/nn/ve98z8Jn7//7v/25+gI+W5/QU0X7c97g8uDbXl4B8L7n8eHktk0/wPfjjO++8I/98/p/yt/95S4akjToIePMaADl7S7F/EFbxZ0463541G0AebYB5TFScWeCzIS2AP5b2dfW1BuzT/5pUbwOPyT+wx6z0Y/S9aH2H+JHLrDCyfSZam22lJMA/hhItWr5Nmn5sbLzFi1sfXPMwKRAbHa8Z1Pf1vZaWJgPrw8OZyG2zyQQs/zHaCHz5oZMawUQYH8jve0S7BfDERRQyH9mNTIW/0q7gt/AI1//gLfB09AHGpRAue3nGyjWel5dXqGzfai59uefrfT51lxwf5dedO0K2of/RXvlFN0TP4EAuoMsxSU0bpn0y9uAd2iY8EN2aX+KlbdMuvW3TpelNl37gdI1gnYNr9BL0zh/84Ae2L1ZfJx/I94H8PkNa7vYLOHCySBtsjwoomMeJBvIdoYA55gVTxDoHH/oADAyiAfNvuOEG8w3JQL6nvz3UiLJCmCA0ACAOV1eUrdsQFoCcawai3EPJ4fpwxHME0+LFiw38dgNbiAEYgzPyo7yz4+6xE/FQ/8FAPoQ7JgAZhBZgPOcstYQYdDNTzcAQATt+/Dj9rTPA3eULwckyZIQtA3TyzcAcYJEBDwN9BjwIXiz9mRhobGzS8IUGaDllknIDVMGC80T2kVOBKN/DAfk61jTfrhpMy77jphLXKsI1bGCwRzjbcI2mTbiO8Ljo4dfetzcBdjp+dUAYpS+2aDwMJAkUHRlh8RCedzkPuLvA6jvwHs8gF++xsqW+AORT/vQf+qCzgqY/AGDSR7CchP8CfNLX6FP0AZ7RX508RLmE3zAgY7DFMwZf8BAmA+EnKLn0RfgY4A3X8CXepR/C19wgTPUa43UONEVGOd4HUAGPAtSDB2CFiJzgOZadpImrFeQIvMOnQ4myo94hJi2xjH/mmWeM/7GqCQt3LPUdr+1umyTO7gD5EM/RPah36gprOq7Z/I5JWgbzTOyTNm2HwRDAPXVPO8XyHut8ZBO8nbQB6QlPG6LN0o5oa7xPO6I9ki7fzKosrpEPDLoA42mLtGv6A+GQE7R34uQcq37iRFciDqwB6QuEgcijA92DyZU3gz/yTnulXXclTwhPf1qyZImlA5BInk41+cM3U+fwGWQ+QFxnZUAd0H4JT5ugDmmHEHXWnXILBvJpF/Ay9ICu6vVUItfOIfoVRhH0Vdoofu/pZ/BbLO7Rn2jjAG70K0eUIfXh7TPweuhEyz4v0W5cH3X54Jo20FeB/M7I+x3Q7Ptmyw3nP3DQtY4jDaZ1oSd64L9bq8Tu8Sqf76Lgh3BUlxVLUBEQjqO5OaAjmb6l93nH3usQA+afn3v6Y1F0xMOP0+8g3uHc5c9d8+ue84x0urLEd0SUPpDfd4h2SfuE0NlWrlxpOgZ9DL6Bjgmf3bt3n/KFwJ4P8AlkN/KXST/6IropMpj30BMwCCTM66+/bnolLlT9OvapKwrmkcggdC1kGvgGOizjffQJxivoAGAA6IaMjWiTyCwOdFB0R8Y7tFF0OsYd6Ayc84vuAr7BOe92dpAflyfkIwdt+Oc//7m1e9Iin8hPJrxvv/12c00dCuMbH8j3gfzjIhRzlMjjbewADf/85z/tHItxOiSkbcc6trsmHANIZohJk04OwRDo3Awcj4e0wVoH7ymCcZwsIN9LMDIIYIcBPcuJ3nzzTWOsbHSDpSAz7ZQhRBmcrLyeLKKuAKFRYhAKh/t+BBWCB0UHRQkBhIKEz1faJe3Qvc8vz2mrvAeRlvIZA8QAVrwDMYQaYWnztP/jJdIKBvJd/hkYAszTx5jgAUinf/EOoB0umsgfwA7XDCZZmslziME838CgEoFMPICRCGvaEO8BEvCthGWwRluEbzBpgHJIOO4BOFFurAjoyT54qlOgrXXhWqe1RcoqDwibp+HDfsLIqTroVCVM/2HhtW3PBh3QhcuUcWdJbV2VpKUMkPLKYh08Rtpy7wmjppnFF5vdVtaUSlFpgeC7ddzwidrOROa895JMGn26VNdWSWnFAUlNTpfMtCxJjE/X521SUVUitfU1FseQgcM1r5Eq2dvtGvc9tNOtu9bKtAnnmk/Zw3TJTqkvAPm0ZVwa0AcgeDDnWFDSZ+jnDIw4B9RnIAUfpt7oq4CmENe4J6F/wGfYBJfJsccee0xuu+02+fvf/27hUW75Rvo67gBQfgHckJnwKPz90sc54Ds8x4+qKlbW/+jn5InfW265xfo3/Atl2YGrqhOZFS+bBcI//P7aNTnZC79lIMxkOgNseOH1119vvvQZYEOUo5MbnRFtoLtAPkR4F446pF65hhd7QW7CQbQb8ut+IcK4+vXe4+A99y7kwpGG+xbvO5A3vDcewruwnBOHe8dL3jQgFwbdEH2GsqU8aacubGfk8kF50i+oH+QRstc96yz9/kZ8KzwJHRqe4XSP4G+nbpD/DHZpO85yH3J1fSQKBvJJl3qD4EdevelUINfeHQFuYFwBzwXAR4+CaM8OvOcXYAN+DB2p7KnfvlCm9FfXr5wM5hodOpSAfEfkleO+T9/3ASAf4wcs69NT0jQgdUR41Zfr68ztzoCMAaLqj92zqtHfrbs2qm6UrTpWuoEXvAOLq9X+gRHEjn2b9L1ciVU9qK09TNKSNJw+Z1PdyIgo1cGSDbAn3g7WaCgJ8QPKQwbo629jc6Ppe7kDAu5Da1S3YxVAahJ6h45Byottw9xRQ8YH8tcFEZcP5J9ccu2QMoeXIs8Y77FaJCdnoAwcGBhzUc+4DGF864h7vOvkLRb8jNfQTeHt6AmM51gJhB66adNmfafNVs/5dXxqEO3jcPIjWIZBjB2QZRwYcjAhjREI8h+Zjw5B+0IXAD+hbfELRkb75NxNLqErkIb3cLpfTxAbv7MSlO9EZ8QV5U033RQSAL6j/gLk05I6RNVBsuuJEyfarzKksLq6ujDNS5hmMEwVUfvl4J4mZr+akYP3OfSD9FsDNHv27AeIy6f3CTCYDoASdjykZW8gBYQlF0o9hGXVk08+aQos9H//93820EDZRelHmf3P//xPE1qAIAww3HLfYyVttB1nx0+UDaANyip5O1nEN3Fo+7bywRr/sssuM2YJsE8ZAzIw4cA9GKw2+Y63+z9RT4AAtEMGSd1pAwgj2h8CCWCNckNIEReguSPlI3afcDyD+EUgOfDAtXeItMkL7bwn2iJpoZBR924ATd0CyiE4ySttlEkMwHXXVgjLL2AfcdB+iYd+CmCP9SQDe8BEyowwDMgY4PPrBmcogfRp3mdJOG2LZ3y3d+DOOUIfQU7Z+NQzRL0wEHz11X/J+MEzJDMFi2wVmtq9N+1aK8vXzZemlmbbHK2hqc4A/DWbl8iBsgIpLivUum6QggN7ZP22FVJZVaq/y7WftMie/du1niJl2bp5Gna/7Ni7WdtRox5NMmzwCBPR85a/Zv1ki6aDVf9ODVNZXW7+XheufEP2H9gr23ZvMP/8G3es1nR2y3YdsO7Ys1EKinfbxAD3Jow63fzsH213oBntK9wrz7z+Z+V3l8q55553sL2dCKLs4SmA5yiGWOPTzunv9AMAe/oHy0kBxulf9C36JIAN7zKwoj8gQ4jPAW0M2rC0pk8RFp6BokychGcwRzrwdPg9BB8iHoAh0mJgx8QhCiz9Gn7AQBAZQXz0W9IhzyjngMHwBfgefZhJBfr4iSzTUCPKhoMyhFeyAS6To5Q7+9gwqQ4vpT3A++DTXRH176xyOe8OufRpC7wD76f+kEvumTtceMLx68I4cjqBC+893DvuOeTy2Fla7oC8v8HnwQd5ID76DG2Tds4kGO2VfsGgEJ7DILAzIk8urwUF+60sAbCRxZQ9fZRnhKGcTgWiTOnb6AHIe68+4ohnlCvtlHJyk40Q5dUdoo6I37Vx6o/BPvFQn13VWX8hvpOydgd9GdmA+8v/9//+n/z61782gyYmXZkgBVR48MEH5e677zbrQO7B/4knuG8GEzKA50fSpcgH8R2pDl2ejxSW9AgXHIb3OLzENTKOduC+i8PlvS+TyyurrSYMnSkZiQMMKNdPl5raKtm0c7UsW79AiorzZdueTarH7JXE+GR5a9GLBuZv3rVedudvl3VbV8jArEHy1uKXpKK6TPYV7dJ310qhvrdJdaLdBdtUD9uv93dKaXmR3luretQmGTpotKzXd1duXCRlFcWybvMyqVDdDT/821XPWr15qRwoKZAN21dKWVWZvLdqrsTHJklxRZEsXfuubN2z3vzw7y/eI1t2r7fNdbdrPusa6iQxIUn1hAZJT8ns+NrOidrke99Z8prqkivknk/eYzKsr9ddfyDXT+Dbjo/wC1921s643EKvy8jIVP1yhxkVoiPCO+DF/BKH48fIUVZms1qQPkk98hzdBSAWvZAwbpzoU/8m6p525ng/5Nqdu8f4AvwDHOnZZ5+V3/72t7bXEYZFbk8l2hK4ABNErEYFPEemYYCEsRDuazAkRS9mlSiGKugZ6ApuvOHShGh7h9Mpu3NAyB7ySVyf+tSnbONb8ujFb0KBtLzf0Z92rRsd2b//qwe/B4+O+11eu0PLuU3LqF1/+bF43LWW1SG/WobtWjftykO4tjGm1ld7B+bEM6s/p1PCSyBW+QSTD+SfJAJkAJADWJ8/f75ZHjIoogOylHzu3Lm2bIWlKg5ExGKKGTCAYwZhPAPE4H0EDUtFXWUjkHj/0o7d1lFyAS9oHIAOTzzxhAGE3/nOdwxUgIGw9J/0j5UC7bZnCKbXF4B8L7nvg1Fijc8KCJgn1j8wYg7qg3pEKaMT8h09WS59jfg+gCnqqLNBLKT8wA5lBXYNo2LwER4eJsXFJVaelBXnqanvz+YSN8wNZckpTNwjHvoPg1ev4GCwzEEf6IkyJ60OpnoIkI9CB4gB+EF6CGOvgkYYyoN2wC18oLvZc/opvwBTxME7fDugIm2G72EW3lkCo1xSVgD+9Gd+3T2XHu+QB767p77dp0D9dwbkY6WFpfy+wl0WJikx1XykFpXkm4UWFl+095q6SrMww0I+PXWAWcvjazUxPkXqm+oM7MdKZ1D2cLMoa2tvlVR9NyIiWjbqoDI7M0/yNY1kjb+k4oBMHD1dB645slkHpNExsVJWWaxtMzqQZrIOHLXaCZudkWs+YpkAsPuaX86PhlRMnFQgH0JW0UcYOM2YMcP4LHINOQcwg2xA0QWMp89xDwCd/oWMow8hI13/Qf7R1whHvPAPDuKhT+G6BR6GXMaaCgs54qIf069QqJGPhINn8Yx4eU4eUajpxwD3+EonTp7Tr+nvpE9esMqiLHnu05GJsuKAB8NnWc2ASyT0AzalQ5dh0E3ZUm/UIf3S2165Phog38kq2iCEHGKA79539104frkPOADRziAXDrCACQjeR5543wMAJ8+cuwO5wkDPTWITD/e7k/dg4h3KAp0R0J1BGAdtmMkk2iFtlnZKO6acnCx3eYWfOX0MWRMdHWV9h/foa5Q9faOhodHiIO/UF+8fS55DhagXytatuAn+Vq6pS/gWbYKyojwdedvo4YgypXydHkRdAOBT7rSf4zUI6otE2bl2T3vlO/Fz/9e//lUeeughAz5wX0a5MuF67733yhe+8AUD8Vkhic6FbsS7lPORytr1EyYHKVeny7s27OqW/HCg91IvhOU9dz/4oN8ju8gH8XHPxec9B/AjbbdqyJseBP+BHE+gTyL/4CmEQbfEoIPv9sbNr/ec3+62u94g0ucIBvL1loHhW3euMz/5+KI3vqM6FIA9Kxyx1kePKlXdJykhRaaOmyoHykoMtIhUvWnv/u22CrKgeK/5vG/T78R4gr2IUpMzbEIgN3uY7M7fpu0mWiqryqRKdTncpSTEJcrmnWs13mQ6poXbumud5SFH06cf41u/pLzQ9LiBA4ZoHpvNGCMhLsF0rkE5w1SfG6TvBL61KyK/WhU+kH+CCX6CbKKfMLaDHMhO/6IO0C04Z5xHX0OnREbSd+jHyHj4OYYkXHOg48OPwQPgB/AF+jvnhCNeZK8P5Pd/op3A2/ATDyCPbGaFPTokRn8Y8T7yyCPy+9//Xn7zm98YNgc4ixxjAglcCRmGPJs9e7YB+IwZGPcQD3ob7YrwtCX4E79dHb1BpMl33n///XLNNddYfkKR+guQjzwJaAvvk137rnV6l3784x/bYJ9ZXIADwHQs4z/72c/Kd7/7XfnqV79qA1T8gGNRAtH5UVw//elPGxO46667rPJpL8SD0vr5z3/ewrpZvh/+8Id2/Y1vfMNm72AiAA4wDzqhs8L/2te+ZswD8OJYiDzQuXuKUPRQTBG6DH4CfaJvEZ2PfDKoYkLmqaeesjpE0LMSArc71J+biECw9zfi2wsLi2TIkIBvfMfgvcT90tIybecBX65Y8w0alGeDfgY5gwcPsvv5+QUq9N63Kqe8UH4YqNC2HfGcJdQoTTxzBMgACMFAhvg4joeoW8AP0g6A8gFrQ0Aj/B9yj/6HGx36qLd+CefCu3xwTtlw7foK1/hdRJFEftD/mLADAEQxZHknr5MWyiMKKLPvAFbeOAD9ORjA9mQ/PJWJ+urMtY7eNsux7Xs3yeCBI6WyulRiomMNmGcgV1i8zzY+i4uN1/txer1X74+wQSZLvBmkMhCsra+WrLSBKqhjJSE2QbbsXietba0ybfxMs9KvrquS3KzBNhjF8h5QPk3b+5pNK2TRqrkyZvgkmTxmupRWFBtQHxfDJE6bLfXGx351bYX2lUh7j83gOpphtwjd4WS71oG8vIC2T9vGHzl14565fubI29+CnzkiPt53v1BnYUmPe8H3XVjv+wz0AfTgF8hz987h3vXp2MiVOWAbro2wzof/MeGDtdIll1xy0CiBcqa8u+tah/pBf0K2MXlDnTJQAcBmEgh9jYlkZA2DfAZX6GUA11hRwZtJByUc+QDfBshnFQdKOTKFAT334fMYYmBEAb9HngECkAfcO/EdpOtcrXGfb3Ty6EjEtyIXSYt3SI98QbzPQdkACCKDyDfhKUvejY3Fd2ogDsqDcke+Qg5IppxdXniHPkN8POca/Ycw/VEu8X2UH+710Edcm/MSbYA6xviDOjgWAlRiAO8Gdaw+Qg+hLmh3tMmTST3ByyhHytMR/JR+Q9kuWLDADBmYOAJUw8c9/QnQjb7kBrnQseaF9EkTF16AE0wS0h+c8QV1S13SHwH3afOkBY/A/zU6qZuUo67oK4D9tHv6LuMY+h7x8Iw6JR76JGPBP/7xjxYX8sN9D/FzEJ6xEH2J/JAv+ijnxAvwCI+g33GPvDFxzOQA7wIkAjgy2QSwiJtHeI3rtyeSKGeOYNc6VH1x6QHZW7RDcrJyJToy1iznKb/zpl8qdQ0BVzmV1ZRxrMSqbpWekiEV1eXm4hB9JyUR4554KVIdLFnPAf3ZHDc5IU1a2wN+nFMS0033wgAC1zqtrU3S3NqiaS2XiaOm2wa6CXFJ9gygvkrjzcnIs4kFjnrVxeI07aaWJm0vemj9rN28WHIGDJZRQybYBMORihWNwHetc2KJfoAOQD9CP6MveeUVfR/+jKz785//bH2avgp/pd3wnH5J/y4rK1deUG9xwItTU9NUXq802X/eeeeZ7AOQo2+vWLFS++sg42XIc7+O+y/RxpAb7KEIH4bg6fiNxwUu/Jj2hdxGXwCcd/u10FZoa14ZSNs8GTy6O8S3hjr5rnX04J4m5lvkHwMx8KODo8zhsxerQhgAQByDLjo+yh+EQIFQ3FHILr/8chNICBAte7MCZHAIE2BACBEv7jtwAwMBMMMsiBsgxC33QvAQBzOIvIsCeqykjbbj7PgJRY+BI0wPYdkXie/l0CZudUlZYxnEoIo6YSKGFRQwdOrNzer3F+JbANoTEuLNcoGyQCFyQAHPndJeWxuwXIJKSopNQKHsOOCesLRnDpQl15ZoAyhE3jZAWAZIWATS5h0pD7JJlGBheKwUyPehFvnkmzbJIIh8kz8GdiiGKHpHSte1GYj4eYe+GxkZWIrHMwQ6cbqyY8KD9MgLA0oGZKTn4uGXMkdRpG+7+z4dH1H2nVnkQ/idzxuQJ3Ex8TaYTEpMkVy7TpDsrIGSkZJp9+JjA9cA/QxOE+KTJCUpTTJSM2VgVp4kJiRrGCwtowzkT0vO0nYVKZkdz7ESA4RPS063wStVS1xDckbImOGTdYCarHFlWZwJ8YGwTCIwMUC+uA/If7RNAh3tZFvkQ9QBRNrwVQ5vu/ee0zeDn3mPQH0GgHl3r6uw7oBcHrzxuzggfl0Y+Dx8ibCQi6ezw6djJ1d+8Er0FiZSAbQA+x5//HGbXKVO0G+QJ5wDAsJHXV11RjxDH8LyF1nGZpnwXSypkN+A3QD7WMVwH3kDYMaG+A7oJk/oZ8h9fOeyKgTQjfDEh4xDbgK+OblCm4F/o+MRjhUcyEfCYKWLvOMd4iZeQLsjtSG+hbRY4UXZIDugztof8oODiXWIdNAFkX2E5bvIIyCjm2igLMm/Ny53DthBuSMPAU6Qc+gI/Y2sDdRUm7wG5KPM0XXq6mrtqK+vM/mO/sI5pdOg7Yq2xcH7HC58V8cBrRfKtkl1D8LjvmO36vKNDQ1WL92Jo7eOxqZGlTmxh+1XXRHvOP2Pc9of4xb2L/mf//kfA7dZnUz7ASD73Oc+Z8ZKt956q02MwG9pt5SNlz8fC5E+77PZJauuALxpu/Rd2i59HqCea/oT4TDgwd0a/REeQLtHP6QfM8Ziso9+TL+hfzPpQH9mAhIiz/RteAjfDj8hDt6Dl2HNCc/gGr7ERCHhCYceSF/koAzgOfAn+ANxwMMY8zHB4HgI+WcyAmOQY6mvniDS5Qi2yKfqyHdmWo7pLrHRCbZCcUjeKNN5OADZ8YWP1Ty6F+9xDx2KfYSwwo9U/Sldw6AHJSelWFzoYYlxSeb6JjI80izoCZ+sOhrxxcUkqr41WPKyh5q/+xiNJ1p1POJLTWZj8Ugt42jLQ5LGwS9xJCcmq96VbHnGWCMhjknNjg89DFHyDBV8i/wTQ/AY+hx9hT5Bf6SsXXnTf5BltEv6L0RfZcy6efMW7W9V1jbpy4D7cXGx+izJ+iEH76NfwBvg9fRbeDJ8LcDfwoxXMAHnHd/6FPpEm3EyDH3r61//uskwR7QPZAF6INb2yC8s7T/+8Y+bpT1jdiaQiANycqyvtxGXxyNhHn2ZfIt83yL/uOgnP/mJKVMoWWyYh6XXv/3bv5lFPktHnRLLYIkNJCAGqAwM77jjDvnb3/5mvqn+8Ic/mOU31ls0gG9/+9sWlsED5/iVhXDdQ5q/+tWvbGk6iiGWJ2wax0whSt63vvWtgwPLoyXaLAyopwjmiELaly3yg4k80yEhynfOnDlmpQ+oz8AY/3nUJQydTuoYdqgS+WcAyyQG3wMxgQR4gkBjYMLgwwEp3IMxlZSUqiIVY0oN9yF+EXgwMwAHyoV3qX/e87YB0mJwQ59hEOslgA/edwDE8RB5oh+h9DkLSPJEX3EgB3kGNMKCi+fkjTDuu7oinlN+xI/iyC/fyGAMEAfwBWCIdBlEAiJhbb1+/QZLH4XA+32kiRUpm3/2xLf7FKijrja77S2i2Ryp6mAxhIPd9lY1ozv0BYt8JrOpB/oG8oA80Bcc0c7pD7R5d59+Qz90vBgCCAIIZYDFYIsJAceDHe+CiM/1Tfc+k9+EwYqGdIifuOAByEvHE3ju3oc6ywdEGOL3qefI1SHyAoMIVi+i1yAj8CXKxrjIFmTV4XgjdUd9omcx+EKWALgCsiAH4NXUPfEAjqHDkQbuDpF9rNSivmkzxMN7yAh0M2fdS7vAGgtgz7Vn8s1BGqSJ5R5AF7ITcA6gDxCCCVzyBdCIIcbh2hHfwqQD8dFWSetw5NptIL91+h3vr2hhMOH6BDKJ367K0dsH+OWafowuCzByuPIPFeL7aQusni0uLNdBU2AwD9gXTLjtYKKW8mfC3ktWEt0ojobGBonWuL28BL0oQuPTUZaWacfNE0zoJAVFe+V//ve/ZeTIUd2qW9qE+w6+gf7EOIg+h/U9ADU6D3oyluP0McA3rzEHbbE32hF1iNET/RedHZCFfcQwtqKPs5qZfo71NMA9fYvvwYiHa+QL34Qeyn36OrIGAJD8wkuQIfQDvof+zliBlQWM4ZAnDNTdpBcrewHk6TvcIx7CUx7wBd7BCAx+5Iy7yDc8BeCSNsdKNsLzLt8DH+Q7jsQPeosoF47ONrs1rqF/XNXSTDjvhao+hDQ7dhyrWD7afPKdvkX+iSF4DTyG/gAv6YpvEA45Td9FXnIwDqOt0q/hCfRn+iz9GKIvo/uhnzKZh8cDZDZW1gD7mZm4X0yzPogxAONfeAYr+fy6Dm1yOid6ALogeA8braO3oat5CR/y6Ape6i0ZdqLJlUMoUn+xyEeecHjJrn0gv3eJpaIAniitDNIQGlhvs8QSSw8su1FqUexQwiA2VuUZg0MEARMAWG2gaKLIMchzm9tCWJQA4EOA9wweAR0ZeBKe93DJQ3z44fIqykdL2mAPO6g8WkJ4hhqQ7yWUAr4BxRrQ+amnnjIhTxkxKADQx5LQzbZpX7ffUCIEGGA94IWreyx+GOhr3zfwjDLgHufUJ4MRlBme80ub89Ytbmby8nJNOPAO9U84B6RDPGPQAtHmvdQxm2nvHG+bIe/BQD6H82GPwoayxkCLZd5Y7TCwpe4pGxQ28toZtbURzxb7PsIwOGRAxnXgeZudA9aQJuAKgzBcYpE25yiXrtxJE4sPBo307VBsT32NqP8TDeT3FeoLQD7tHvlGX2eQCxgIv2TABC9BWWbiislE+BC8FgADGeksseEF9CHiQNl27ux4D3CEPoorK+qa8FwzSIMv0bfhIwAr9D/kNH0SuUo88AXAFGQ0Fpg8J588B0xBxpMO+QK4ofzghaywI53j5U8+fZCc3KV9MLBiQy5AQtoM+tLdd99t/BE6XHsG7IKQV9Q97Y62BBE/B+2PNsB92gx8nPaierDVLQdtg7xwn3DcIyzvISP45R58nPwQhztoN/x2WOrYOd9H/KTPva6IcPQX0kS/O5q+677PfQdxuW+HnMzpjHiPPkJ75z13j28tL6/QvATc8oQ68W3U4913fVLuufZ7kpMyWFopFi2vD5B+f6f3j5MoV4u1F+LuDvFZuDT58n99Qqrb8+WlF182XT24rZFP1xYg2jU8EgMXdCf4L32MdooOBKjNQT91+rHrIyeCSIv8IA9cvyTP8BMMNvgWDu7TL+gn/BKWb3XEtevjkGszri+TjtWh/nJNeBeGa+Lkl7R5Bi8hLPyEcuGXvkY5uXgc8R4T1vA+0mM8CR8hLy7/J4vIK0dnQP6pQrQSH8g/MUSZ0g8A15FL3n7iiPaIDskkGeMr+geGUfAkLPMhb5+hz3NNP6Mf8i79kP6I3kf/ZHxG/6cfA+LjZhedk7zAW6hv+rVPoUPUtyOMJJBfTPwy9qYu3V5YGOMyNoAwugCHO5LhRaiSt0xCjXwg3wfyTzg9//zzptQ5C/2+RNpge5RJIVidohqKQL4jvgOBT9nA+Nm3AKYOQIwbJZYIY3UEAAsRLhS+lW8CKAA4QylxeWYQonzAFCa+HeIZigy/ACoMKDgIh6JEXBDhEX6AaCxfBMh3YBrpuDQQHAD2gHxYFnmJ9Gk3WOofbzmSn2Agn7xi6cnkBUoZlhaEYyKODY/gr4A/TNBhoct5cD7IP/HStgEcAffwrzh16ukaNgDgQ3wHgJ+zOKa9YPVFHlASsVhTGWFhiRMwEQWSiTp336djJ+rVB/JPDpBP2ZMevs8B4blmkhprl1mzZpl1FW2eVU5YWzFBzUS1mzSE/0D0QfgUYRmYwWu55h32mKFfY8FNfPAM+hYgvZtY5z36IfyKQR5gMP2ffkl/YzN5LDUZ/NH36KsM3oiLfPAL32eQx2CPwSQg0XXXXef30V4k2gt1Sd3hxpAVjFhLMcGC0QKHmwTuTObyPsR97znEtbvvvQd5w0PB192lrt4LTrcz4jmTDExwYfCBzkg75nCE7EWu9jTRppHBrv85Ik/0OdJEbh4u/6FAtC2+c/a998lnb/ixZCfnaTvqeHiKEM2Tb/7c92+UjXvfk0UL3zP9jjZAfVNGjtB3WEmC8RD7BcDTCUcfZM8HQC7aKnoN70InUxd2eYA4pw/xix4Gefth8C/EeWfkDeMN684h77vc9/ZbysyVK3IGeUOZQcFp8i66JH3R5duRN70TTeSTwwfyfSC/t4m+gzsqJsEA5DsrX9oik16MKRk7oacxuYjBheNnhyPe5132fhs5coSNWc3Vmup/WPGj88HLML5yfRQeiM7InhV+nfdtos4cz2XsgGHmCy+8YOMJxgW4VmMcgIEm9Qm/pf2A14GNoGv253r2yqdQo/4C5L+vafnU54nl1gAJPoUOaUc+yMABmr75zW/KM888Y26PEP5f+cpXbOn/L3/5S1vSh8AIBcaIcEOI8Q0oLeSdc2VIBo5BlZVV+u0tqsS0G7CAMsWBcANI4DtRevhmRwD2gC/Ez8HAH+ArmADNANhRkLzkwnvj7Ely303+3TWgH5MP7BXAt7n641lnRJ6rq2tsggqgHx/4fHdiYoJNYDAwIw0GagCTfCvgB2UFIMi3Uc6dUXB5+NSD5MTnqXL0AYJfAJoz4ccACx7qeAl9h/5CX+CXgRpALeA5/YdJMlY94cIEwAiF21lIMYhi0hCehXUovISVb/AxJulIE75NXM5VAfE5a0n6NpOvWPnD45kwIE54H8/JL/d4RtzwB/o7eSD/WPl3xR98On5ycpc2wgCLzet+/OMfG1jyu9/9zowhfvSjH1n9dSZzeZ8j+Bzy3nfkDePOO7vu7tHVe+7+4Yh2xQqvrKwBB+Wge4dnAAy9QS5u1z+CiX6A3DxS/kONAnXD76l46B8l2pmrc+qfvgcvZQXhl770Jetv7PuFe1B45Be+8AVbLYNhC24HMMhwBju8y3Ey20mgTgMHOhV6Jd/nzVdXvxDnwQfvMiHgrh15zyH33N33Pqec6UPeeLzhgu8hv5B3nT3rE6RNJkxZLzYwp9Th+ea+omv1N6K/oq+hb6G70f+Cif7EJCN9HBAfAywAWvbf6A6ID9GfAG/RB5ms5JeD99n0FAtt9D4XFsJYZMOGjVJRUXlQRvvUtwg5xgGvZfUYrnEA5R988EHTG/FxjwvHf/zjH/LAAw+Ybsn4nzYzbdo0+fd//3f56le/6k/W+NTrhOYVrHHbtW+R79PREAKqJ0FEhDCAbqhb5HdGCAcIBQMLa1wm4e4BpRtfvh/96EdNKEA9Xa49RdQPgDlAMwoLA3inEAFaAX7xjDrkGYN43gGk5psA0FCyANwAzQDm3LcSnmueYwULGMPgj/chV34sUQR0o3044l0AOhS34y030uObyDvpkz/SxhIXQB1wDzceLJnzWhmimLECAWWOvLv7EHHiq7SqqlrzPtieYQ3CgcBn8Ivih6UVLnyIg/gIx2CSdFnKx8ZvPHPf6PJFufG+rzgcP1FXAYv8B+XmKz4nE0ZP1OtTY9QVExMmCxbPlxs+ef5J9ZEPf3BtH54Bb4EvuGfwGfo8yjZt3+WRMCjVTH5hrY8CTjjiIizPCMMEADyG/sM94uSXuod3kS7ACdf0Q+LgYHINayt8FMMb8JFM2oShf8MzOKd/kh7xExcHaRAfaft0Yoi6gLcifxioMwBjJQX8mcH2xz72sUMG29SPo1DjpeR/27btKpdwEfC+Jb77Jtoj7dD7jT1BxFdf36Dl1aJtG7kXKHeIPoMuRxhAD/pPKBPfBf/AIv8z1/+XZCcP0r7e8fAUIZoPRhqf/8FNsnX/Mnnn7XdNp8ViEZcD9DN4IX0O39SsqGJiFR3GGSLAH2mvfYloo+SLPLq+T32j08Hr0fu8xEoT9DfcKni/hXicTOCccOjM6IudPSdN+ip9xV3jsgHLYCZ+kX3ofOi98CrK0WuRT9qEx/KXsI6Iizjp8xBgI2ky8c077jhRRH447rvvPrn1+i/IhPGTNH+nVufh+yMjwuSb3/uiPPnsn2TBAt8iv6eJNk6/pI/g3iS4bKkDDDvc2AsQn5VC8Cr0N/rf0RDpYbGNfkffYuUmv8FjQIh+zviOtNnw1K/3vkG0CeoRgl+Dz2B4CZBPPTLhzL6TuH5jzA8drwyjLXjjIA8nkh8fLzn9MhTJd63jA/k+eUgb7FELvsMRzKy/AvmOEBhOmWA/hCeeeML8cPKtLDUGXHBKRU+Xb0+Q8qeDG/yRP75HeYAN3hjswOBRahCIPOfcuX3h2gFlkHdgT5lAlAvgHfECehGG94gXwrUOAyuWZDviOYobYJybHDhWIh+dAfkMqpgo4BvJA8A5Qh5y6fEeExS8677H/eLGA8Jil/j4Ptw+4CoHVz0sNSeeuXPf1rafY9b7KSnJ9v2UNXstXHnllYcof8QDkM93Y33sfebTsRH1ZUD+5x+UW2++XybrYKC56dQYcMbEhsu78+fJh2+YdVKBfNdnOiOewRM7C8M9+hD8g/OuQHPC0P9cv4Xc+ZHShn/Ba7C+d3wMcmk78l7z6+L1hvGpd4kyZ5AO/1S91NoyoBeAPhOj3MP/9Sc+8QkDwpighYcjW0JpYpS2jLxls9qhQ4cYgIccpX1y0F/4Fr63p4kyBsglTeQR6SH/SA/Qm1/yApBPfwzl9k85Hw7I18fawXWQrwfdPVwP86HfA0TcXamCpOUt1g5WY3nxlnZwOMjd45fXeHy4KiIcQP6D//UxeXvZi3LO2edYn6GOAcawagX4QK8BbHZ8jzbYV+uefOFSDb2WfGN5id6KKzSAPlZ3Ue9MIKPrMj5hJZZz6caBYQu6IQYlrFblmj7JPeLiPdoPvAi3axjwkC4TyuiMzvUafYcVDbiPw6UcZQt4xIQkoC/X6HtMzKGf8j4HK0R5F9lHP6SvoZMjp0ibb6J+yDs65Uc+8hELf6LqhHbAAZB/201fkIkTJ0lL86mhVzkKU4YQqcc3vvNFeeJpH8jvDaKNsdqS/ofMoX1zz7VzzgHe6cv0D/oVk3H0mWPtC/Rrxnf0S/odcTLp1ll8hMWa+9prr9N+2PNu7nzqPtEWqA/qCR6PWxxcICMHqD/2mLz88suNb7pwXeExxHU44l0XhnMmc5ABDiuAn4NdeOMnnEsXIlzwOc/deMg9g7z55RkH5A3j3oe6+q6uiP4SquS71vHJJ5+Oi2CY2sdNmcZa6Re/+IVtiguYgFXTnXfeaX6cUeZR7mGYvck0YeQuje4c5NsJH96FGLwjlAC4sIZ1QAKKkhMQvKuMywYfAOAc3niJi4P7CDR+ScflzxHvey2PIPJCvqDg7+kpYoDEd0EMrPg+hK8y7YN16r4DcgNAJmsAkyAGWxD1SllRHgwG4+MT7D5xDBs2VGpq2Ggx4FfYlSeDPQaTTiA78gppn3qYVGy2a/NF9zklDrqq/p5sok91dTh+0tUzfhlQcQQ/dwfkwnrvQd57wQfvwJcAY+B5wc+6uvbG69OJJ8od3gqfZPnzz372M3P3gctC5CzLpVkRx14KAPtMqL/66qs9Kj96k/gu5JGOJezcySHO+XZ3rzeI+AEvACuRT8hu5KIrb54jmznvr8SntbQ0y56CnVJaUSIRqgI0NjbI2q0rtRxa7Bq1IPj4wH2Nx/1SXe66pbVZdu0L2EXZPT1I0/02NjXaL0ekvldXXyfllaXSrHk6mEZHOBcH8VM3Tc0BHYbf4vIDUl1bZWGORNRnY0NgguYzn/mM7Ufx9NNPy/e//31za+UMcWgHHJz3RaKfMBEFwM0EHntrAL6je9GembgFmGeCwgH3gDwA9ljr0+7RR4kDAw/0OtfW6ZPOdRtWuvRBfHfjKg7wHeMQDDsAjkgbfdARgD3lRjkC9jLBgN7IL+FJgzzyHLCefGDMQVrcByiCn+G3mTzjsxuwkXDILsD9k9onT0VR6Iv/Xif4DLoX+h9EH6IfQ7R3+jN9nr5JH6Ff0C+Phz+RHitumLijrxE/vKKz/sU9gOENG9b3mkz26fBEHVD21BXGdF/84hfNDdxf/vIXWwn161//2jCZz372s2bgAdGOqOfOiPpm8gjeC4/FMA95QBuD34IdQPw6owe3ZyJxMonsNoJHLhCOd8kj+YPvw6/BU7jPOfKKuFiphb7FNbIHvIFrDFaYsCJvxMe7HLRz+oDDEugDbNTc1bf51HcJ7hLMYezat8j36WjICc2eIidoYUr91SK/M4JhQzBeZoVZ1sVSWAYM+NIHXEBZhyjvnioXyhvm//LLL2u515rFyJGIpGtra2zwHh4WLkUHiqS5KWBtlJaepoP2GI0XsLpGhUWdMpYwGZg7sFvthLAMNmkDDI5wEUBcEPFDCB4AfgZbXkJIUY7O6q+1pVUHlJeYYEYId5coEwQsaXgt8ufNm2f1QT0gbIkTqw5XF7yHYEWB5DmTMvhEZKCLIEa4M4AC6MCai3yi7DFI5FsBByF8glNWuPAA+GfAyIQP7YE8MSB030O+GAwCLqIcHs13+tQ5UY8HLfJvul8mTZyk16eGkhMTEy7zFsyTD994ci3yffKpJ4i+zCQq/NbJD0dO5gKsAez/8Y9/tGtHgGBsiAzP7et9gG8DVOQXOUJ+GSzyi7zpbaIscRmArHMWwID3bhKaSX7OcRESyjod5csAONgiH7C8qLRQ3nrvJUlJTpO0pHRJSUyXbXs3yUVnXS0l5UVSUlEoCXFJEhsTL3X1NfpeqzS1sJmqmLzJSM2RqtpySYhNlNLKA5KenCW1DdWSpr/hGmjp2ndl7IgpEhUZbQD96GETZNe+rdLW3ibb92ySSaNPl5ioWE2nSPYV7tT4siU6KlrzrDpRbIIB9bv3b5NRQ8abjtXU3GD6VmllscyYcqHMW/6aJMYnWR6njT/nA/3FEfl1rnU27Vss8+ctOKi7ULehCAjAJ3Bzif4NoA6ogv6F7g0ogjU7bjoAaehPAOXoaQDv/HIPgB2XawD+c+fONYtgyhBwfe3ataa3oaOiI6Kz8S73uMZIgwO98fTTTzeeBCADOMgqUPLlrH0B5tEXcbHDJAD5Rq/kfUAnnvM9hGFVEdb/gD+AjFwzCYC+iJtGNxl9Iog8cRy0yJ9w6rrW8S3ye4coX/oY5YnMgWj7jEUzMtKtPwK20v7pU6wUR071RB8gbeQecpi06WfUbTA/JA/0RUBbNkvtis/61PPkdD7AddznYMwBUA4/x/oeV5xMvFInRyPLiJf4GKPTBpAFgOfoPug9TBbR1nCnTHtDRlD/8HdW4j/88MOmN6FDkT54AW0UQxNWb8D73Wovp4/Szsk3sgo3kbi0I25kCPESFxPGxP/oo49aHnkXTIG8EQf6GHKOfGJAejRt0ZVlKFJ/scinBoIRO7vWRmS/WtFhdXV1YZqXMM1gmCoF9svBPU3MfjUjB+9z6AfptwZo9uzZDxCXT/2btNF2nB0/OWGI8EURPVWIMuSAMQP+AtzD+GHGWDkBtAP6orjDfLV7dbx5fAQzXrN2jfziJ7+TSXkXSFtNvHb+hMMfdQkS05ohYXWJ0q7XCeE5kho9SJIjBkpkU6qE1SfpsySJa8+0e0kROdJaHdd5XEEH8UU0pkhcm36jxhP8jCNJ44zV9Mmru8dBnqI0/Xa9H6VxrFq2QZ547i+mTB3NpBBtEEGnvO0QEKSgYL8K2wEmYBF8yu8OThq4uJUn2sCPDd0A/RG2TAoQD4M2FDzeQ+AjlGnjbtKKdBHEbjk2z4mLewzmGDDSN2gDLj3aAeG5RkB39xt96pqoB0CWV199TSZPPMvKG+DiVCAV57Jn7x554qmH5bLLLpVzzz3Pb1M+hSzRlxnYIFc59xLtmoP+zXOssbzEZDKDILesui8T34GsYWIZcC7Aw9pswMrgrbeJ8sEgADARQq/gHulDDEQpT+RlKBPliux/8cWX5Mzxl0piDBP9+v3atKrrqmVf0U4zbthfvNcA8dWbF8vwweNk575NUlxWKLX1NbJ+2woD24tKC6SiqkTjVBmuz7i3eedqKatQfSE6TlZvWmygf219lQzIyJMD5fslIjxCDpTtl7VblsmIQeNk3bZlcqB0v/LtKKmoLtV098nG7askJSlNGprqZem6d6WmrlKamhtlZ/4WbQvxUlNbJeu2LJXdBdsMsC8tL5LBuSMlv2iXlGrayYmpkjtg6Af6iyNu882vvvsPKa0ukHs/da8ZPKD7hLKsAPzA6APdC50KnQsgBP6A7sYkFRMW3EePY3IQsB49nefocuh8tHHicc9p+wDoxMu76HMO3AHQ4X3C8tzpqYA66K3kiT7Nc9wU0b8IT1jipNwBjThIi7S5T37IK7oqv1yTJ8B/3ve6ijhRRHviwF3QlIkzZEDW+3qVe+bOe4N6K96jIfIQrsxiztx/yboNK+Wee+6xug7lftOXCLnDuInydEZYyCDGWPRZcAUmYhlLMcHmxm89RYwZidOtyiFu+II3Dc7hCUzm0Z8578k8+PRBcvoIfBcs5dvf/rbpe9yjD37ve98zV2OuL6I7HU2dEA8GI9S9G9MzYYQcIS7wHPQfjPbgwUzsoq/RFuHLTL7SdhjD014B15ET8HUAf95Dj+Nd4nXv0dZp1+QVDwBMHmHoSDjiQt6QJ4wIkQ/IFyYuwDcg2ikT1+SFiWq+o7t0NGH7Gv3ud797R3/atY8yU3PwVw9+Dx4d97u8doeWRZvWQbv+8mPxuGut/0N+VU9q1/bYDoiv11bfqrO3d2BOPDMdnvqH4A8Q/CKYkGjBUs2ufYt8n46GaLMwqp4ihB8M71SzyA8mOjOE4gHjZeaYzRtRzPHZhisAGC8d/miFjpdIZ+GiBfKnnz8t37//59IU8BwT8oTrwbmL35Hb/+1Cc130hS98wQaa3SHaoNciH6JNMqmCYCUemC6CE+EICARQz3tYbhEOJYGwn/70p63OELj8IqyJk7hRKrC6og5nzZpl8RLHxo0bVLiOs6VxgFD0AwZibuacGXv3LdQfQh5BzKDzVO0vPUnUgW+R71vk+xT6RF/uyiLfETwUXo47ECZYHTFhzkCbDY1vv/12mTp1qvHvE9UfnA7QXeI7ASccIQuQUwCQJ4KKi0ssrbi49ycO0OOQd9SDm5SGQpWn0IY6s8jXz5P6hnrZvnejxMXESVRkjLaVKCkuK5BRQydJdU25lFeVSWZattQ11JhVfX1DrVnK1zfWy4oN82Vg1hDJSB2gukuMJCemGcC+dc8GfWeAAe4l5YUad7xU1VTYO0PzRmn8+7Uscd0TqbpbwMoeq/z6xjpJS8mSBv1leBqn6dTWV0tMdKzWQ4O06DvUycghE2RfoQ7yc4ZLwYE90qjPUpMzJDM12553RtwGgMUif3P+Elkwf6HpQaEuJ6hbvhl9ml933pVOxfNjfeZ4UXCZ8QziXW//d+F4Tj8CIPLuP3A48sYJcd1V3nqTSJejM4t88kNZx8REHbzXH4nv9y3ye48oX1bNpKWl6hFYLc0YirEWq1U4B9Sk7wBy9ka507dJB3nMmA+gFAMs8oL+ANG3AXORzzNnzvTrv5fI8XSMIJlAfOyxx8zdLSD4bbfdJh/60IdMz4OOB0chHdod9U08jPdZ8QGoj87DhC2ALfgAwCzPyRNje/o/1vTcdwaC6E1M1qJzAuDSXhjj067QpziIm3scEG0JLIHJiA5Q2PLFxC1W+y4vyA6eEydgPyu2KAPySFl1l45WP+1L5G926wP5PnlIG6wxnp4iGIkP5L9PMGLKhDJmI76nnnqqww1OnW0oBqDP7vfHOkCGGQPk/+FnT8n3Pv2LfgXkv73kTbn7G5fJQw89JPfff3+3y4byDgbyWeqGwAMQQgiWlpbJ/v0F1ka5ZlKFOkDoIphxj8TyaFZXICAR0sSH0AU0AnAhbvKEYkE9oPDR3gHwSYd87N69R8O0WHj6hPJaU0LctxCGc/y6ohDSXnw6PqJMDwfkY0GJPD0Sb4rQuiBEMH8kfqir9wPPGWy//x5xtR4Dn6U9kE53+agP5PvUn4i+dCQgH4L/4jrtRz/6kVk8IVPvuOMO24QemYv7CybQuecGPPTr7varoyXiZQK/tKykezxdw5d0WMTzbpj+w30K+c7MyDT3K71N8AlARq+VI4PXuNjAhvC4dmlrbZORI0fJ9OnTQ5KvUBedAfkQbJuxrX26Hvxwj+fOY6Hd6/iFeN7Q2CQHSgskO3OQxERHHnyX9/KLdkp6arYkxHWsZOiIgDgwZuZ9zg9SxwU/Lg0Xnwt38Fz/tGkVIM7Is4uL88MtQAt8U/8C8unPABwAfhhNwA9cv0PnctfWtyiAjvvc45n3fmfnjlcQFuLaxU+5EYZr4sR4hz7knkO8CxGOPgWg46xHg/MFedMjPs7RP0krOOyJItLkCAbyo6LC5alnHlU9eL2MHzdF6upr5aMf/rjExsRq/lXvUZ7B77z5b6nOnCrTTjvdNpDmE5qamg284ptYRRkZGWnfrj1Oj0CZYQFfXHJAFiycK9dcdYPeUd1K/0XZpGxH5z1BxPf7QH7vEf1n3bp1Jl9cH2MsR9/GAIoxGXUAuNmbRLqAtQCo6AtcswqAyQOIPDCew3UfY3i//nuWHJ8FLGcs/sgjjxiITrtgL0J0OWfp3FNlT5064tzL4wM86f0w/JIu+XThHF/ml8MR99x73ji9fDzA/+CTge9277tfFw7ypkF48kGcLo/dJZdWKJLvWkcP7mlivmsdn4y00XacHT/BZJwyywziqU6ULQflghKATz1mkVH02aAES31+Yaoo9ggn7Xodbx+ZCLt3315ZsWi9XHjGlaYg9wdCxuzK3yHPz3lErrrqKlOmuttOKWs3o+1c6zBTDkiPVQfgfVbWAGFTWs6ZVGG1hPI/A/SxyGcwyFI9Bl1Y7LOEjfQB7xn0EjdEvWEdAuCCNagBL5mZpnwOHTrE3kcZoZ44yAdLvb3fQhy8eySwyqfuEfXflWudyEiWwtVbmTO4hChz3mHA6K45L6sos3pioOkNiyxmAMmEAPd5l8M9J/6mpkYdeMccjLNc44rRgW0kOxkqAey7NL3ve9PhWVVVpf2SBw1le2C4ODsj37WOT/2J6BeAXp251vESbZzJUnyNMrDmF34KoI+8RQ4A6j/xxBM2oY67C5Yvw8eJtyf7CPHB9x/84pclrDZVSvfWyYE91Uc8akvbpHB3lZ0X7qmSkn11UnWgRYr0PDhsTx9FepTsrZGygoaDeeDgmvTJT3lBnWzbsE/+8NeHVI6OMBkZaryFukEGB7vWCTzTcZPqAuHh2ibgsZ77Lcbv4cAB4hH3eZdJlszUDOPZgQeBAADsaSlpEhUR9X54z3sWRs8JDpmI0oNnAKRMnERGAGwG7rn3LLw7D4gLk2/e/uHA/c7IxRNwrZMv93zyHtNrQllOIM/Xr19vfduteGQCkHHI/PnzbaUJwBzGGlhaoqfhD586AyTkPsCcc4HAL2GIF0tN9HLCoNcRD2Mb7qM78owxD0DT66+/frAemFTgnIlFfskLRiDwInRM7hEn8ZAm4YiH/GEZynPiQ/eEyB+TlbhiOBn1RX44gl3roHM88dTfJEq/ZcHCt3Q8ssu+5xcP/UiKi4vkz3/9lcxf9LYUFu3X798pTz3zN1m/YbWsXb/SzlevWW7Pn37uUckv2CePPvFHWbZ8kZx15rnym9//rzZWkcef/JOs03c2b9moabbJz//vB6pXl8jpUwF8T1w58P3oX75rnd4heDPuRZDdlCn9EyMs+iJjZvoGcod+05tE2vRxeAMTv4wT4QlYQLt+AG/ADQrjPfqr3waOnyhTx5MxwPjmN78pL7zwgk3cfOtb35IHH3zQXJoxHoIP9GSZu3olThdvcPze5+4c6io8RDjIG6azc9MfOsjd64y8z7zxHC150ws18l3r+Bb5PnmINgtD7CmCafkW+V0T5UPnh1ACXnvtNQPzserGNyYABJu2ADJADEgORzAN3yL/UKKMvRb5XAMGvfvuu3LuuecasE67RDFk4ASYwyALRosCSbvlgFjGCaPGJylhUDDcQApydUk9EI4BGvnkHP/MKKUc9DE3sYULHe+3EAdpAzijFPZkfzwVifpuaWk2i/yP3/jZgxb5DDgXLJonz+iAMS0tU+66/dM6GM02K1TAGDaLTktN199q2bR5o7z46tOSGJ8o99z9edt4OTMzS+umWQdxr5krhCsuv1YHp4UG0EdFRlk7wgp/1+6dUlZeIhPGT9LctMuatavlzbdelgfu/4a5REhLy1D+WK71jjVFi4E1cMkETYv3MjMGmFVbe1uLrFi1TMaOnqBKQYwkJiZJa1ur1OqgJj09Q9PTThJEvkW+T/2J6Mvdsch3RBjegYfC4zl377GJHZvQs2EZ4BggPy53zjnnHJMV7p3jJdKsqa2Rez95v/zw/r9KeMuxDZhMkdc/fUWFYg5yf3GJnH1Ljlx73dVmKRdqvIW20JVrnaqaSlm8eq6cNm6G8XMNrXKhVXl9hGzfu0mG5405pD3ht15Heyo/GixMfFzABVJzS5P5yG9pbbahZXR0QD5UVJVKUmKqplNu/vdxk1NTWynF5UX2HNc8vIOvfPzmpySlSmZajuoSdbK3cKeMHjpBw8WYDCFcdGS0udIh81t2rZWxw0/TOgpMFDOZnJ42wGRLMPGtgJ/9zSIfX8RLliwxf8boahjIoKsBkLPakZWS6G3ocOhZDLwdIITspl7RBfjlPufEw0AcNwnwCYB1wqPvUV6MdT784Q/L4sWL7b4zFmH8Qxq0NXgL/Ab9j7gBJnkOKOjSBNznHvlFJ2Xi4corr5Q//elPB1fpAHIShvvwwxNdX5QxR7BFfnR0uHz9Ow+qvtIml192rTz5j7/J4EFDZfvOzXqvXc+HSXxCkuzdu8MME1K0LFOT06W4tEjOP/di+dfrL+j3DJcM1WlWr1mmZRIho0aOk0/f+yX5r//+lowdM1HeW/Ku1uNeGTlitJx37qXyzrzXrcx+8T9/trZ8osaZfL9vkd87RJ9i1TT9xLtaBUt42j0b3iYnJ1n/oq/1NpE2/XbVqtUya9b55kpnypQpdp+8kV8mCTHkAmj228CxE2VK32Ly01ngM/ZmDH3XXXeZ9wL4KOXeW3VPvI4vkxeuyRc8nokaruHN5AMiL4Rz5MK7PLpvQgZAbrKHg2eE4Zx2BNF+3H33rkvDxdmT5NINRfIt8vXgnibmW+T7ZKSNtuPs+AmmA7NDAXbApU+HEuXNwaACH2pYfgPuIrgAGRBkDDZQ4AF3tSt2vPlB4llXFvnIGIBF6gQDMxeNGfRyrQeWW4Sze9zmnh6Ox3Pbjo77EHkPWBK/H67DkNiuCUZaPHdpuvcJZ+kS6DBEPD1lkU8ZUba0S9zaULYIZ+V3dp/lk4Dt3J82bZpNoihvtPQYwBEGQsBD3EM4876bdSUs6Tm/pwzoCMNmZ26VBUohm6kFC1DCExfpB1vr+3R0ZG1dy5qJlKeffkbOPP38g5ZjPPvZL34os+95QIpLiuT5F58wq67X3nxB5i2YK2/MeVl27toqL7z0Dx007tH6KraNBfft2y1vvfOabNm6Ud56+zVZvHSBpKdnyuhR481i7PmXntQByAbZum2TWd5Tly+89JTG+Za8+dYrsmfPTinRuHbt2qYD0Ddk2/ZN8uw/H5O165bLv954Ud6d/6aGnSMx0THyt7//1tJ58eWntV/vtnxs375ZXp/zomzcvE5e00HvnLmv2qTDdG2rLa2HthXfIt+n/kT02e5Y5DuirQe3d3cPkOzss882oA/d5J133rEBIxuVMakLrwbAg38cT58hn1hTv/TCK3L+tKt1hBZp1tbHdKg87/T+STj0v4Hdj/zzlzJx0gS5+eabj6ucTgZRNwCiwRb56CWVNRXmI7+wZK/kH9gjO/M3yc69m2TD9lV6vVuKSvJl6+4NtvEtm+Fu2rFadudvtU1p121dpuE3GyhfWLJPFq18U3bs2WQb0A4eOMLCbtm9Xrbp+2yQW1FdIpER0fLKu0+prtEspRXFUl1XIfOXvWbAfWVNuWzYtlK2794opZXFNgmwZdc6/S2TZevnydZdazWdfNlbuN02yGXj3XINt2j1W7YhL98xIGOgJCUk2vd5iW7Evf5ikU+dIu/pz1jFs6oS/c1Z4AMEovuxRxHf6PxrM7GHnoguSL+HCA+YA3/gHcKgr8E7eA9DDQAZ4oYnYSnMXkqsBgC4R4/kOUA87xIXRiCcw1fQIZmYxKoYvRBXIRB6Kvo+abq40VWx4IcAuMgT30V8PD/R9UU5c3xws1vldzreu/LyD6tOMl2qqmskUfOamJAkU087U8aMHi9DBg0zA4VzZl5g3zB2zAQtiyzVfeaozjvQni1RveriC66Q3IGDtSxy5IzTZ3To7ltl8sRpcsGsy2SQxoORRmx0rEybOkPGaTwnkvh+3yK/d4gypI9iROXGVRATX/QJJryYNDkRRF7gKRjL5OfvM36BARh1TRtAx4fcahp/3HZsRP/mgA9jZIHV/dNPP21GjWxo++Uvf9lc1sKDKfPeKmPiZ+L31Vdftc3FqWt0Qsbxb731lvFc3N8yKQyvRiclP9Q/43yMMuHJXHMf3k4crCAhLKs5kDPwd9oP4ZC5YAaEoY0zUYScYDKa9sY7hAUXwKWvMx7sKaLcQ5X6i0U+SFDwqMaufSDfp6OlQLvtGYLxwKx8IP/IRLlz0OEB8q+++mqbgYbxv/jiiybQGDgAHDOIgOlTvt760m7aKZAPWL5iw0LZtmej1OvAMFyZC5ul7dy7VSJUOdldsE3YsK1On9XW11q45IRUU7Kx9lq/bbUKrDizDOM9BrL7CnfZe5t3rpEB6Xmm0K7dslwHsg1mGUa8hSUFej9CB5Wlglvf4vIDlu9S/V20ao4kJ2ZYelgck/eA5dsHSbPbI0A+gyoAdARnTk62WVVDDJooVxQzlmKjODC4QpFksOUGdsSFUHWKZKC+2AgvEHdneaLdM/BCcDMQ4ztJhwEcSkkwkQaCnPD+oODYCQFKWaIIsSRz8XtL5KYb7rD6ZMCJWx1A+AblTbt2b9WB4tny4ivPaJsYIAX790hSYpLU1tXI8GGj5PxzL1EJH1Dmd+3eJhMnnCYrVrxnfG1Q7mBJTUm39N6c87JZ0WOB9s67b8gnbr1XCosKZNF778jE8VNtuTmUp++UazgmADZsWi2TdGCapAPdrKxs6wO0pw0bV9tEQFV1heRk58rqtcs1vQYpKT2g8Q+3JetMLFww60OybftGueSiS5XXHtpWfCDfp/5E9OejAfIPR/QDDgZEyFnkLXIAa1o2UWMgxyANIAHeDt8+lr5DPgHyX3zhFblw+nUS3v5Bq+hQJC0OqVH++NfnfiHjxo/tV0A+hIxgMpVvwsI+b8BQSUnCajpM0pIz9Dxd4uMSJD2ZlVmtkpGWLVkZA82yPiM1W5L1OVb6NXWVFjYtNcus7EcNGSfVdVUqd2pVx0qR8uoSiYtJsGellQckOyNP2CCXcza1jY9N1CPezhPjk80qf/DAkZKalCa1DTUyYlBgLx7SHpQ9XFrasPxHL4mzjXqxwseqf+SQ8baiLLiK6Ebc62+udei7gDDoWAAf6HwYZuCKgT5NXwcIZPUB5+jUZ5xxhulrGNQwbgFY5xwAHh3uuuuuMz0RsB53XOjqyGr0UcB79APiBOgBuCFtdEn4FekQJzr1eeedZ2EAfdh3Cf7CxCEWvqTP5AO6H+A9aaCTMhkASAigxDdQP3wH1vjk4UQTfYcjGMgnX4D1ydo+cUE1ZdJUOW3K6XL2jPNVzzlNRo4YI8OGjtRvOk117FEy48xz7Xvb2gKA6LVX3aj9JUVSUtPkI9feIhddeInGcTopyuhRY2XWeRdpfNMtjUkTpsjkSdPknLNnybixEy39E0l8vxfInz17trWlUO47fYGQtYyB6C+08QCIHhjvMlnGOIq+St84EWXt8sOYD0JmoIeQN3gN/Zg8kl/aILzEbwPdJ8qXgzEv/OQb3/iGGTHCE7/zne+YCx14IfUPj+jtsiUvyAt+4f2s7gJ4pa6ZHAZDYOzHGJ5rnnFOWAz9wAe4h2s3MARkAq4c8bRAO2Y1GJgEz3Gjyy9tGd7+6KOPGmjPhDNymPhoX4RBxpAv5Brj2J4sB741VMl3reO71vHJQ7RZGGVPEYwX5gyDQ+gF+oRP3SGYAuUHwfiZoQbQR6FgWe/HPvYxGxCg+Lt6g2kEu9axGMLaZeXGxVLCsm0d2AHGN6syUlSaL2OGTpTK6nIdTCTYIAP+V15VIh+55A7Zumc9b8vKDQvluos/YQB+rA4QSyuKZMvOtXLGpPM1zciOewekRO8nMTitLJXq2grJzszTdJqlqrpMOWGbDYQHZg2SJB2QYlFWXlVq7kHysofKjNMusoFnZ02kJ13rYHGPxQRtElCeXwQljJYyJ16ENIoagpWlm5SrI+KjvBGoKHaByYB2G2jBsDmIg3AodgBCgENYcQF2MIvPTDtCnWsGcRykzzukRRhm3hlEdvc7fQqQ6zcoVn/4wx+s31DvEeFR8j//9Scd8I3TemG5YpgUFu6Xl159WgfNuXLFZR82lzfjxk4y6/vtO7bIiOGjtG7iJT0tU4qKi6S+rkYSEpNk5crFcsb0s23Ttb17d9tgNDU1XeYtfEtitB4nTZiqA7tVcs3VN2pd7zCr+oE5eQbEA+6kpmboQL9Y9uzdZWGtk9LwNd/408d1DyB9eXmZpKVnSLO2M97Fgv8aHegyOTB0yAj7TqzXKirKZOaMc21pu5d81zo+9Sdy/bq7rnWOhhyPZwCFJRYDKpb2M4C85ZZbbAIZK1voaPoQeca1zux77pfvzf6DRLQGlmKHOlFchcX75aLbh8uHP3otS4VDjrfQhpD9nW1268jprNSj/pcW/UZc1tjorjWw7B3dJiIs3O45Ui1BdhfskArVfSaNnqbvhkt4RxjioayQBeu3rZAhA0eaxTz3aIcBHTwAEraoLLA9VPScvViC2z2rB5qV77v7gfwCqFJHYbI7f7vlYfzI02yCoONzDhJ5AXzqT651INefKQ+AfMA3t4rSS9765Zxfyh8AhbELoAn6GjoaLjNcOKdvQ4RDrwSwB6APtBXTvA/GCaHToYs4AJL76JrcZ3x0aB0GyJsez921i5P73vAnikifI9i1Tlfk8h1M7j77AfH51vSVOKcJBvqCl/juQ+PpKu7eJtI11zrf/aI88thvbUIQtx+AdeTng3n3qTtEO2dcRr9gIgzglAk0+huWylg8M3nGmI6+1NvlTH6YyGNyjjzQ30mTsSF8gckF+jH32GuDve9ORnsMNaL/ULbI4DfffFP+/Oc/24pIJvZY3cJ+RgCfJ7ovUcdgLvB96h1Qljqmb+M+CV7NhB0TvUwY0zb5Dng/bRUsgO+ADyBLaQ9cr1ixwsLSrrm3aNEik7O049NPP93kE3onE8B8L+mAE1AGpE9a4Au4U3MypKfIybJQpP7iWgfJFpDq75Nd+0C+T0dD2mB7lGHCqH0g//jICTsIS4TnnnvOrPMBNLDgcSCDG6R07iO/XTbuWCN78rdIY0uTJMQmBizwG+v0PCAo8eVK7aQkptkAE9+wW3auseXh0VHRMnnsWcIy73Vbl0t6apYKXwRLnLB0+8xJ5+ugdbtNDGABht9XKDoy1gREa1uLWZQNyMg1i+PUxAwpKsuX5evnS3bGIMkdMFQGZuZJelqODnaDWVnPAvmAMwBBCFOUMOIBtOcZghKhXVZWrsJ0zEFwvTOiThCuzJ5DhGXAiNDFZQ7xsmku8TLAY2b+oosusvJA6SNP3CMcwhkBzwaN5Ik4UQiwvOrud57q5PoJE13sM/G73/3Oztns8u6775b//slP5ZbrP3PQRz7kBo9QS0tgo7Y2LW5cTDmCHcK2XDhvc7BT/eOqyIVh9Um46kWBCYNAGtzzSmni4ZI+RxoWLxcdYQ5JR88bGpplwaK5MvOs81VRxEdjIF8cPAfkCSYfyPepPxF9vLeAfEfwZwje8a9//csGVgzAGKQha3F9xwQwhK50JJ2GPHcF5B/s4x19mL7v+rOL1nsOEayzFF24g796Lzice+7Owwmr5y6sPeKeXnAcjiimUwHID6ZD6kYPb/l5yXvPylwvvGFcPLSfCK0IjIm9cTs6JL1OnkPB9/UyQB33eQ519W5/BPK9RB/kOJqxjeMD1A/vQl2VCc8dP+oqDM+D4+EaXRBdDyte9zwUiLxydBfI74/E9wPkf/s/viy//cPPDNgF7LviiivkggsuMLAPog315Li6vxN9DxcjlBm8CMCUsmWMBbDJpBk6ALgCxk6MnXqzfKln4seKlnEkk4IYeTHWY3K/2SzxA+njCvfGG2+0c586J8oTfggfnDt3rvzxj3+UhQsX2rj5k5/8pO0zcjIAfEfkDUwA3QD3aFyzQgqPCPRp6h6Qn0kmgH7qn+e0T84N89BvA6+hbRKOcw7G+GBixEP75R2s8mnHGGWuW7fO2hfh6AM85+DcpcEvaRxJ9zwacvIuFMkH8n0g3ycPaYPtUcYJw/aB/J4jx2yxGnzjjTdsJ3dmjvHjzsa4gAz4+/7Nfz8u373v/x0E8rUapL6h3gD6PQXbZeSQcWYJHxsTb/UNeE5d8bxd/wHyO+WFeywXp+6w6MK6i4kA8oILHeJJSkg2wVVTV2VxNrc0WHrL1s2XKWPPlLTkNBWG0QbyB/KDm4I28ydLWliqEQ/pdEY9BeQjVAGCEJQohlh3KN8zpQEwHSFJW2VGHUF6pL7gFBKI/LCsat68eVZWuEciLcB76gslAJ/MLk7e432I9xjMkRcUVPKL1Qmz9N39zlOVXB1Qp1h1/OpXvzJliIEU7YSl62wi+9nPfF5uven+Q4D8UCK+MyoyTPtWYPl6d8gH8n3qT0Qf6G0g35Hjz0zWYoX197//3fyisrIKOYu8hcdDh9ObLI7OgHxl/a0tTbJq0xJ9t1UmjT7DZG18XJK5XWlorJeWthZbvRYdFWuyk8l2VrixsWmb/mMlHUOB9NQMDc9qnybZsXejjBtxmllxF5cV6bNsfTdcryPlQHmhpCdn2rfhrqWqtspkupPx/MIfcBfX1eo4R6gipyKQ399Im6d+c/8G8vsCOX4CubLluj8A+Xd87EuqV41THazj4SlCVBebfn/921+Whx95SO66625bqQswx6pfdH+sZzHIwaAHOpys8CnQT5C5bn8LxpmsjomMjDRXKwCs3AP0BNBnrMRG9b1dprR1xmlscE19kgdkB9bTzc0Bl1mMHxmToxvwHT4dSpQh5UJdsVKdFdP8surpjjvuMAAfl2V9oY84/sYBkSd37sh7j/Ngcs9oGw67ce/wfZSF95pzF849DybC9EbZuHRDkXwg3wfyffKQNtgeZRIwKB/I73lyTJeyBWTAApkZbZTFocMGS2xTjvzwi7+WxoBLPyOWYPMall+wD6qCUxiEWYMRSP8EVxGyyN3jF9nCb4eMsl/GJfy6sO5XdS9tT3rOEQgeiEOfEw/pcu1IeaW9DLDvpZ4C8rGMByxnmRv+UrHA5xorD84B8ClDfrsbv5cQvMo/DcxngoXJApaAEr9T5jvrA+SRAwUWi3yAfwYEuFA6lnycKuT6AWUNgI+SjfXD5z73uUOWH+Ku5guffzCkgfxjIR/I96k/ETzyRAH5jkiHdOHrAPnIWqzImPi95JJLzEofayrkixuMecn4eidAPqxry65NypsaTOZt2LZC0pIzbU+axPgUKS7fbzI5OZFl2xEG5pdVFutvtL1z2riZUl1bKcs3LJBRg8dLY3Ojhcdl3YjBYyUhLlm27dkgWWnZkp46QOoaak2u1tZVS3xcopw+YaYsXPWWDEjPkcrqCvPbzqaR7KETH58ol8y4JqArdEHk3wfyQ5+06ek3+0B+b5PjI5ArW65DHcjHgvbKS26VcePGS+spZpGvBWAW+f/10+/Jy6/9Q5YuWWbWsrjSxNc34wBWdgH2Iiuw1GdMwFgD8vvYBwk5iwU+ejzjMIjxEKuUnWETMjZSB5dYS2MgBZDP/d7uP4w3WKWHf35WbiM7mMznl36MoRi+0DEeIu8+3vE+UXYYWy1fvtxc6LBpLJNdt99+u1x//fV2DvXFPkG7Cq5Lx8+5H4yZuXbYmS4I9cV24cbSoUg+kO8D+T55SBvsB5jS8RCMywfye4+cMKHOEJAMpp/6xxNy+uiL5f998y/S0OjCiZSUHZCdBVtlWO5os7xLjE8yK72mliZJT07TgX6DDtzb9D5L2hjctWncAbCEeiMdtxQfKq0olpioWLOqT01Kl6go/EISNhAeNyVlFWWadoQkJ7I5IUIav6LhUl5Zbn72hw8eq3GS/3ZzRbJl1waJjYqToXkj9F5HQko96VqHMgMMwg0OrokgLGhQvBhM8d3H006tnDQNXPigyLOPAUop947Ut9y7LKPbtm27zJoVUFB9OpRcu6ecHn74YbOWZXCEX8XbbrvtEKsOwjU3NxmQf8fHHzDLMR0rnBIUq+PFd+Yvkms+eo4P5PsU8kRfPtFAviPHmyEmDpG17FmDHDn33HPRtc0CE0tByPUz3usMyCeq0ooSWbNpiQYSqawqs1VprFRLiE9WeVxjwra+sU7GDJss+4p2GNC/d/8OA+Y/dO71snPfZlm67l27T87i4pIkv3CXub6LjYmV/Qf22karA7MG6/u7ZED6QNm8c61tjHrxjGvl1Xef1HxESEx0nFTWlMnwvLGWh/qGWrloxtUmy7uifgfkf/QUB/L/0wfye5OczgJ5eUOoA/kYUHz/+/9pYGsIZb9HCZ7N2AJ9340pIMBngF3AXzbMpLww7Ln88svNBQ9yzJHf3wJgIlb2rHpjQsRbJkyis+kzYDn3CcuKalybMMbCfz3v9SbRhx977DHz3Q6QTx6oQwywkCO4S6GeGYuwwempXqe0d6czgU8wVmP/IeoQAB+3p9Qz1NfKyvFrxpDULav2OXffQ7vjwM0OvNtL8HTGn2AOXmJFB3FGYuHYx4i2HKrkA/k+kO+Th7TBGrPqKYJp+UD+iSHHiJ9/4Tl5+uE58oPPPyRNzQFG0KqK5qKVc8wSr6GxTpqbG81CLys9V/YUbJNLzr5Odu7bIkUl+2TcyNNk/4F90tBUK2dPvVQWLH9dmlqbJDUpQ+NjZ349T86U/KKdMm38ObJ511pb9p8Un6JCLUnKyoukubVFMlIyzSIwPSVL42qQ5IRUqagulYmjp9vGuIAQ2Zq+NhJhef/kMWfIqo3vmd/+i4NAhJ4E8mmD3GMHeOJgWd+GDfhgHHEQyO8Joj5YBoqyySZp3Z0kQFFQIWD+81H6u/udpwJRb5QPivM///lP+e1vf2suiFiS+elPf9rKGfKWGe/QZu+b/Vm5/JKbZfzY8aKymCd6uLpw4pNr7znkriH33BvOkTd8cDzBYR25dyD3HnQ0cXRN0dHhsmT5Ern3Mzf7QL5PIU/05ZMF5HvJyVr8pL7wwgvGi1j+z4Qt/nEZ6ONT31FVdVWXPvKxhg8Pb5d9+/eofE6QVpMRbbYBPBPpyOv42ESz1I+MiDJgH3nLnjMtKmdxy4PLHdyHAchzTcRM1uMCD2Ae/oHYiYyMMmt+3OfF6/u4wsPSv7HDxR3x8wwZ1ZWbO0cUQX8C8j/3if+S3IxBWl5entz/iT6FXvLZb9wsG3f5QH5vEW2NsoZc2XIdqkC+I9rO//7v/9omn44vnooEOPm1r33NZJMbQ7jyAMDDWAgQE0tkjHxYHcwE8NVXX22rgx2gCZ2Kfc/1BcY+8B/6C+WIjM3KGmAyETAYa3g3jmPiBMDcvd/ViueeIJc/0qTeWAnAeAMg11nkM5GASyAmcHDtearyUMrK6Wesfv/rX/9qk1kYy6Ef3XrrrTbuhvpiGZF/MAN0OgB8JpFmzpxprp2YsKQ/L1261Hg2LniZ1CFcZGSkYV2M+/llBQnxsNqA1SMc9PvLLrusz313KPNuH8j3gXyfPKQN9qAS0hMEQ/SB/BNHMOPFS96T3/708UM2u0UJWrhyjsTExEppWREVY5Z740ZOkSVr58ldH31AamqrZPOuNRIRHiUFB3bLhFHT5LSxZ8lbi1+yQT0AwbY9GyU7I89AAMCEYYPGSHFZIdHJ+m0rJS05w5bv52UPk80710hmWraUlBfZJABgQVpKlr2LReHe/bCTMNmVv0XOnnqJDM0bLW8ueE6q6yrlpivusWeOehrIh1A0AIF5hhsbhKsy3B5to9QHS2tXr15tgp5lmKRxuLyTL5RB5bumOPRkfwxloixVJtkGwr/+9a9tA0r2HKAtoFhTz52VK/cpw5/85L/1vd9IUyPm+NQx7cvVtWtr7j4U/Azyvue9D3nDB8cTHNaRewdy70FHE0fXxLc3NNRLdU2l/Nd//Ui+/vVv9EnF2SefukO0574A5EPkxeUBIO6dd94x/7iADcgZrPMZtGKhGREZIXfdfq98997fHwLkQ6xyo2vzC4aM+CFafjk0GfuFLKg+QyS4Z+4+f7z3IPeel3iOmz3mMl3c3jQcdfaulxj39Scg/0tf+JEM0XbV2abh/ZmcfLzn0zfLuvVLZcECH8jvDaKtUdaQK1uuAQBDGcj38sFTnboaP3vrnrEwK7oANnHRxhiEPc5mzZploP6ECRNsUgAirlNlzEz5AIgyHmMSnO/mHqDp5s1bJDt7gI2dAIYBTxkb8YxxFStzeUa59dZ4iToM1N1aHW+cY4A+4G5UVNTBemfMBt6BLnDxxRebZf6pUn+OGKfB39inzAH4uDh1AP6IESMsXF+WL3wD4D3++5k4YjIJwoXTs88+a9/Q3Nx80L0SlvlsegzRHjgnDlZnMl4FyHeTU9xzrqD6EpHfUCUfyPeBfJ88pA22RwUhgtgH8k8cwYwXLlogf/jZU4cA+YAEFdXlZnU/NHekNLe0aN2IsDkegHxUVLRZ8+HuBh+6bHaXmZpj/nkB4hFA1GVVTYXFFxURZYD70NzRBtDzjE1weZ6dmSexGldtXZVZ3udkDZYDpQWSkTrALAJx54OwY9O+opJ8SYhPsgmAuJgE2bJ7nW3kN2LQ2EM4XG8A+RDlhcKBVQXCubtxHg1RdqTJklEUTpRQrBFQbjpT1MkTCv6MGTMO+tI8lYnygFhBAYD/yiuvWPl95jOfkY9+9KNWRp2VYzARz3e++x3ZuWOHtYlThbDqpQ3iy5t9A3qjjfvk04kg+m1fAfK95HgUE41YamGh/9prr5nbHayyLr3sEnnlxTflp196XMKaoy2sIz6jobFRDpTtl4GZg+welvJRUTGSEJdg17A2Fw7re9ziBdPBiQBV3xpbGszfPQSn475jecS1Y+8mc7OTmJASGCjonyOwzw8Qn9yvgPzP/0gGDzp1gfxPfeZmWbfBB/J7i5wODbmy5TrUgXyfjo687YB6BxB+88035d133zV5MWbMGLn00ksNCGYSmHEC1B0dNxTJyU5He/futdUJ7rsh+gsrGpqbmw0Ipc8wXovscFECvsCYknFcbxIrKVh5wgpg5LwzIAomVl1grY+e0l0KZX5LGTh9DAOrRx55RF5++WUbc+NyEACfvSGgUPhOvgVrfHQ4ZCEYFu2LleBMHrHyAldOTBzRBum3jOsZiy5ZskTGjx9v4D59ll/CoQc2NTWZkR6Tdc7dbl+h4H4YSuQD+T6Q75OHtMEa8+kpgsH7QP6JI5hxZ0A+hL4Br7aV9h3cgntWJXrwAxhg9/TcNQOuHbvpcJlv19xnzOvi8L7rqtmBC+6Xhx2PjLAMJKwBEHo4WRIs63vLIp9lcihnbCrb222TumEGH4W0pKTEBm4Icy8QTRhc6pBfBP+p3F+oH+ouPz/fLDsee+wxKx98K95xxx1m5XC0g5vOlO5TiU7l9uRT6BP9ty8C+Y7IH/minwFIYI2GH/3Va1ZJWnK2PPPQEmlrCOSb7LNvTW29Dg4b62T9thUyJHeUbWCLm5whuSOltPyArWobN2K87C8utDBh+i8pIUVyBww1frhx+yqbeE9PHmAT8bjgYTJ+0MARlh/izskcJFlpObJu23Llme2yY98miYuOk5FDJkh9Y61MGDlN4mLjNd+WtW4RsjoUgXwnVxyR57vuvFse/NwPfSDfB/J7jbztzpUt1z6Qf+qSaxO0B/RcrHffeOMNA4sB/dgkF+MLfMBz7sBt5EtPjtNPJgF01tbW0BlsWGo6qp5w5cQR3YJrXJaw30xebp6F6QhqLuYgjNJ6WsMlbWTmdh23hetAtqKy0u4D7E6aOEnHxIfqIYRhXAmgffmHLtf8BNzadU0BN3ZMXvDtoaSju/ZLWwTAZq8yJqWYUGGyAwC/M3enoUAA9qymB4Tn3I3fExMTbUKJ/unc6QDwUxYc3Md9DmHdNeVBe4GIk3eIpy/xe74vVMkH8n0g3ycPaYPtUQUBRuUD+SeOYMZdAfmA5gdJuUJLi9Z1e5tER0UcVDRMrnCuv8hdFKSY6MAmtk7m8MOyfOIDgG9SoRYbE2WWgLxa38DsdYy+xxI72pS9dlzUW0A+GxNlZGT0mjV+MJEX0kW4v/feYlVMy22JqPO1uHnzZhvUnXbaaT3u5idUyJURSvtzzz0nf/rTn6z+rrnmGrnvvvtsQAMdS331JcXpZJDPf30KZaL/9mUg35HjYRADunnz35Wf//Qh+b9vPnfQIp/J7dr6Wnl+ziMGym/csUrlaJxMGTtDDpTkS5gGYPUaffaKWdfKe6sW2uo3rOlZzTbztIskIjJKduzZqPIxRvYV7pSq2koZO3yy7QlSWVNum9C3trWYj332ptm4baUUVxTJsLzRyj9bpODAHmnT35lTL5G87MGaHj7yu0ehAuR76wICOEUfxV8tLu8AIN6aM1eeeuRNyc4ZqN/gA/k+kN/zRBt0+ocrW659IN8nL4+ibTAOwK0HPvU3btxoz9no1VnqI/8Yz0D03VDU6/gmvpWxXEt9uMk+voIe0NnXcJ/VpRCuYr1hXK/pjVIg7hbNZ0N9vSQlAeK2SHl5hZZ/jK0OCE7T5b+0pFRSUpIlKjq6y/ohLPXHBvb//b8/lrFjxoYED3C8DGxn8eLFBuCzsoTx9Q033GBW+BipQaHcPvlO8s8538C1+xbu8cyde4kw3nve73dxee/1BQI7ClXygXwfyPfJQ9pgDzKnniCYlg/knziCGXcG5CNTduVvC1wYtUtW+kBZsOINGZ43VlKS0sySDz/5sTHx0tjcIGnJmbJpxyoZkJEnifHJZuUHuABIMHb4FNlbuF3q6multr5asjNyJSEhRVpbmmXu4pdl6rgZFgcWhimJqVrvHckeI/UGkK98zlzYsDHhiSbqCct8FAO+w/l4xDqfZXfKc3u0H/ZVohwc8b2Uh8odef31182NDkAL/gSpb5axQt2td5988ql/Ebw8FIB8L8HjGhob5O47Zn/ARz5yedtuNoQfYO7nEhKSlL+1SENTnUSERcri1XNtU9sLZ14rkeEqMzRsakqmyemBWYPMkg/5G67PsOQvqyyWwTnDbTK9sbFe5Qgu7JpUrsTJsNzRZtGfnJhm8r62rsY2r+e9jLRsSVd5nxCf2G1ZDevua0C+V55AyHqAUla5AYjh3s4d6AS0Jybyq6tq5Km/z5Hs7Bz9hoDcjYgArAjUEUYPh9NdaYs0x5aWQ2W2976T9aTZGbn2fDi57/LQVRzHQsRFmj6Q37tE/bp6c2XLtQ/k++Ql2oDjBejCuP7EUn/OnDmyYcMGs+xltS57sFx44YVmhOT4Hv04VMbYfCeuXe/8xN3y1TseksQIHSd2POuLRH4DZav1o+dtdt51jpl0YMLhcER3Z0L/rq9fKZUt+2xCGcv8vsp7XTvDAp2VI48//rgB+bm5uea6ExDfuRPy5UdoUbDuFErkA/k+kO+Th7TB9iiAiPDzgfwTRzDjYCAfZYFyn7/8dWnQwT2+7JMTU2Tq+HNk3ZalKnBbpK6h1sKwGW2LDvw5P2fapbJ8/XxbOtjS0iwl5YUmnPGBf+bkC2TJmrcN/N++Z6MtzcfXPfGv27pMBueMkPrGOhk+aKxMn3i2xhfMno6OugPk8+1dEUsdAfKxoHDEks7Vq9eoMnxBx50TS4AJAPds7MRgTvnvIflz1NN9si+QG6ygBGJ9hH9BNq5lOepvfvMb8xeKRQcW+FddddURNwj2ySef+j/BN0INyCfPuAOYfc/98r3Zf/jAZreILcb7fI6pRyoqkdmNTa1SUVUqcTHxKrviJVIDEJZVcDxHJBCec4hfQAETFfrbcduIaGGfuBTmHdKz9winB9fOvV13ibycDCCf8nRHMCHTmRTnQK6sXbvW5Cz+bPGFz0Q+bYcVcPifnjZtmmRmZsiXv/RV+coDPz7oWiciQtvZ7p3y4stPy6C8IXLtNTdJbExEoGw9RBY4CguLtY6rZcRw3BkFypEVi0XFZVJRUSZjRo+Sf73+qk2w3PCRG1Sf6ohAifCU5br1G6W6plrOPfssaW7SODqe4QoxXJ/TPtasW2cukMaMHiGqth0cBbo0vb/Nzd2z+qMcfSC/9wl+5dqsK1uufSDfp66I9uDkHOApbkABUOfPn39w/DBp0iQzRmJPLfzrA/RDfX3cwLcB5N9z173ylTt+KYnhfRvI7w2iu1O9d33tStlTul4Wv7fE+EBf4r1evoW7QPzGI+tpi7Q3NrG99tprLd+QLzdCkw6Hn/R18oF8H8j3yUPaYHtU+CMAfCD/xBHMuCuL/A3bVtqGemwmmxCfLKOGTpSikn1WJ+WVJZKanCElFUXmZzA9OUsGDxwh+4p2apyRsnXXOosnJSlD0lMyJS97mGzdvV4KDuyWzNRsC1NdW6HvRpslPhvp7S/eIwOzhhjwn6HvABQcKx0JyKfNMljH5cAHGKF+fHFJiQ7EO5ZC6veGazkx0I+JjjYQ+UQrvKSPH0yUbpbMtpO+Zrw9qJDIe0pKar9zs8N3/fGPf5SvfvWrtlEQkywXXHCBKYrU0V133WXLM7GW7Gme5JNPPoUmwTf6G5B/OOITYft9kfUz7usKyOebOeDdxyq3eB8KrmfSwF0RwBZ7zQAoAGohz3GXowMo82mLq7rMzEwZN26cTJ482Va65eXlGeCAb1tHAKmfuufeQ3zkY43/7e99UaZPP1vl9BIdfA2Ugv37JDs7V9JUHm/YtFamTJ4uZeWlmpcqDR8lW7ZukOuuvlHmL5wrZ5x+tmzcvEZqVffdX5gvP/vxr+VzX/ykjBk7UZISEs31YGbmANm+Y4tkZmRJ4YECGZCZo/mu15Fdq0RHx0luziBZsWqxXHD+ZRYn35M7cLClWVlRJmlpmTJixGh5b/E8GZiTJ6kp6bJh81qZeea58t6SeXL3HffL6FFj9HsOX/6UM/LVB/J7l2jHrk17+4kP5PvUHfK2H/xsw/Ow1GdVMRtzRkZG2iabWOmjS+Oy0xkG0b/72viBb/GB/ICMB8jfW7ZB3lu0uM8A+a69YWDGarZnn33WQHx41dSpU+XjH/+4tbX09HQL78uL0Cawo1AlH8j3gXyfPKQNtkdBMwSBD+SfOIIZd+Ujn7JnI57Auf2YImG/HX8MT+64Rxh3btRxzas80yG6LTE0K0CueaBk4249d5g06R7vAOVwQD7fvGPnDvn8Z78owwaxsU5Hwh5qbmqWcB2cKzMLZFTz06QDKCYgIiJVgLnMnygifVWQKBfA/M7SR5HaX5Qv02dMkQcffNA2uuoP/Yf6wnKSfQAA7r305S9/Wb74xS8akAC5OvbJJ598gl+eSkB+X6augHz4O3KKPU6QWYDmXfFxyqareuQdHYMYcICcwD3O7t277eCce+iVECA3E/Ks4sJKcOTIkbbSDTCLPHiJvDkdl7Sx1J99733ypc//6CCQj570pX+7V2Z/6kF5/Y0XZOeubTJk8HApKS2W/II9cslFV8ripfMNPK+vr1N5NdR0IVwYLVk2X+NokalTzpQzzzhX5i94S777rf+Q7/3g26rHRJu+QTyF+/fJRRdcIW+/+7oMzBlk+smePTskJjZOhgwaJrH6u2v3dsnIyNS4A7rL/sICadD0zjrzXNm6bZMUHdgv111zs/zz+Sf0vVjJHTjIwLEBWdnytS99W8/tMw9L1IEP5Pc+0dYoa8iVLdc+kO/T0ZK3LTGOwAUlVvqA+gD88DgmLnFHOWvWLJvI9E5e9oW+Tf67AvL5NOQLw53grCIu3DjVOxxiBdSxbm8S/C4lS/zHY3zWHSINvqevAPnUiZPHyFYmip5//nlrW8j1yy67zCzwWT1t41YlX070D6J+Q5V8IN8H8n3ykDZYH8gPYYIZdwXkhzIdCchfs3a1/OfXHpLv3v/zQ5acH45om4HmeHLapCnimjQTIp1RbHSYzFn0mnzlp7fJL3/5S/nUpz4V8koTdQWtX79epk+fboNYRyqDzKUO7g5C/Tt98smnnid4pg/k9w2ClQcD+RCg5Ne+9jV56aWXJC0tTb71rW/JJz7xCXsWTFjOoxsC+jO5i4V9fn6+gfQc1DXPAdvRS7EwzcrKMl0SoN4B97QHgCoAfSdjIN45nM5JG+oMyI+MDJNF7y2QJ5/5qwwfOlJysnPluReelHNmXihFBwr0G4vlnLMvtPg3bl4rF5x3mWzZtlG/p05qa2rM2n7c2Ekyftxk+cczf5P7PvVFefnVZzWfw+Xtd16T6JhYyRmQK5MmTpVlK96Tgv17ZOyYSZp2i+zes0OSEnEBNEwWLJwrI4aP1vTzLL+FhfnSomEm6nv7C/ZKcckB2bR5neVjxlnnyd59u2T82MmSnJwqV11+jTQ1H1mXp33yvg/k9y7R1kznU3Jly7UP5Pt0PESbcbKQlUrwTAB9wFf0bHgs/Zm9pjjcyiRHPT3m7y6R786AfLpAY1OD7C7YLglxiTI4Z6jd4xndpryqRFKTMqSqplwy09IPGpEVFhfIQOWpjnBJ1rE3rr1vpOEIzyVFRpx8+oHS/ZKTBT6h90m/uVXLrVYSE9hTzd7sFSJf5ONkAvne9kO6tBn2KHvxxRdtwpwJ8quvvlquu+46myBHvh5JrvoUeuTVm0KNfCDfB/J98pA22B4V6ggJH8g/cQQzPlWB/P/5zh/l+1/4ZbeB/L5OsdEibyx6Qz75zQ/Jz3/+c7NUd98caoSiCC8AsMHC4+GHH5bly5ebewRHl156qTz33HMGxvh8wqdgYlB2hL3DeoTcoO9ENkFvml2lz/3O8tSdd49EXcXd1wgeEtJA/n39EMj/xHD5yPXXyVNPPWUW9N/85jflpz/9aUcokZSUFNv3BAAe1zc6FjH3N5wD3uMmAv0QwAndUwc9NqnLkn0s6gHsOQCjuOeOYEJmuKO7RBvqDMiHIiPDpbm5RWJjI2XpsqVSUVkul1/2IXnhpRdl2NCRMmniBPNl39rWqvpJhDQ1t1p8pO82OuTagR6cY+lP/DwP9LnAKkkdG4qOsixd20RR/4dHhEmzlmcUG9/jHqejbzuK1Ocr16yQN958SaaedqZccdmV0tDYYq4RW2GU3SwG2id59IH83iXqn7KGXNly7QP5PvUUedtYU1OTudxBzwbYX7NmjbkfhQ/jzhO3KGeddZaNy50LHsc/OXqbyGdnQD7W8QXF+TJ/+WsSH5tobmBbW5slNkbHBW3tUlJZJMNyR0lhSb6xxIzUbKmpr5Z9hTvM5SvjwWaNlz3g9h/YLVW1FbZ3W31DrURHx8pZky8wt6879m6SnMzByrujZcnad+S86R+y93blbzUXsuVVxXLNhbeQUy0PctzzRFVplZ0UIN+1FXg/e8rMmzfPJt9Xrlxp99lz4aMf/ajMnDnT2gzkZJlP/Y/oN6FKPpDvA/k+eUgbrDHrniIEgg/knziCGZ+qQP5Pv/MH+Y/PP9SvgPw3F70m93zrCvnFL34hX/jCF0JucO2URSyFsPD485//bL6MWZp5yy23mPLIhrf49vzGN75hFh+h9o0+9R4x0OFAJFVWtEpKaoQNfGhTEPKEc+8vIgZwrE0HfYH3A+fvuxULhEFDwh0GhB9pNriEykpb7L209Ei79r7rDdfVfc4h73Vn70AuLw31+kdvx8eHS2NDmzTokZIaSN/FV1vTJgmJgIG8F/hG3q+qbJOY2DCJjY2Qmup+Q/I8AAD/9ElEQVQWsyaOidNv7uhGLm3COrIy4bojnqrKVomOCdOBbu8NWnuCyHdIAvk1NXLfvffLD7/1e4mJjNVi78OF3E2KjAiXgsJ8Of/KsZI3aKBcc821NlGLL130PS8B5usAxtqgjinMUh//9dnZ2XYAXvBLGHfNO11RTwEKtKGugHyIuiMdB7yTrmt3Tk9+P8z7/Rpy+fM+94ZzzyH3zJ1D3nf0rt3reHRIPORDh2iWb2883SXeIQ4fyO9dcroQ5MqWax/I96k3iLbklZGAtcuWLZP33ntPFi5caNbWuB1D9wbQB7jF3SW82b0HL3F8rqeJ/HUF5O8vLpDFa+ba85q6KsnJHKRjwBhpaKqX/KJdMn74abJhxyrJzsizb4iJjpN9+3dKYnyyHkma/wg5/4wrZenad+xbAO2H5o6ybwHsr6guk+17Nlge0lMDcqmuvlpSEtOlVn9jomMlKjJKLpp5lfbVQH57g+juFPWJAvIZKzuC5yxYsEDefPNNG4chu9kE/oorrpDLL7/cVm44fuTLgv5P3rYRauQD+T6Q75OHtMH2qOBGEJwMIB/hSFInKLk+QzDjg0D+ff0QyP+mD+SHAqE80/cB8N944w3505/+ZBZBbJJ0zz33mK9FLC/hB4BcuEXgnVD5Pp96nxhDtLS0S2Nju1RXtsrbb9bIx+9Mk4qyVtlf0CxpGRHahsKlpLhV0vW8cH+z5OZFGZC9c1uTjBgdLU1N7bI/v1mGj4qR0pIWqShvlcFDouW5J8vlgkuTJCoqTOrr22SEPt+xrdHiK9cwKSkR+m6bDhLDJSNL4y5oUbnYLqPGxMjunextIZKZFalpBu6PHhsru3Y0aa7bZciwaGv7+fuapLa6TUbqOzzDpWjWgEjLO+A5ecvIjNB4omTxglrZu6dJZp6XKJXlLXKgqEUmTom1/JI3DGz/+Y8KGZgXKVOnx1v5bNf8jhodI2+9Xq1h48w6eM2qOlEVTmVuq3zkplSJ0LLYpeFi9bt27WiUstJWufTKZNm6qUFG6rtY/e7Z1SQL3qmR629JldQ0lk1b9H2SKNdQBvJ//J+/t429T5Qe1JtkQP7+fDn3wvHavmIMCGI11YYNG2x5viPk8w9/+ENz6wA4D4APmA8A445g6mk9tCuiDR0OyD8ViPZJWftAfu+S04kgV7Zc+0C+TyeC4MMQvLWqqso2CQfAXbp0qW1mysqojIwMc215zjnnyKRJk8x1WfCEKryiJ+QXbb1r1zqNsit/i1njR4QzSdmi+Y+U+oY6SUlKkeKyIjlQtt8s8xMTUqW8slj1vkgNyxFhe5Wkp2RKUUmBAfNJCSnW/4g/LiZBKqpKpKGpwVz0tHVYPGzcvlImjTlDn5VKXGyC6lxtMiAzz1ZK9Za45ltRY3oLyPfyHIjJnFWrVslbb71lrpeKi4sNl6G+r7rqKnN36lZn+Pz/1CLHH0KRfCDfB/J98pA22KMaQDlrP8hZDjpCQLW3fxDI535nSTh54xWa5uNOr7nnTQvwBOKd4Li4V13dpuEDFo7dEcIAGgQ8ik/vlMgj30ia3Um3pwlmvHDhAvnzb56U//y3/1NF6SRkohcIS9G35r8pt33m6IB8jF9pQ13pJNaiAlVv7YX699YbbRXqqr0G1zHpdTTNDxBxkV53cYJQBPKd4sigYM6cOfKXv/zFNuIaN26cAfhYeqAoOj5DWI5An+mi4Hw65Yi+1dDQLm++Wml9b2BulBwobJFrb0iVJ/5WJnHK10uKmyUhIcJ4Q2Wl9gttPjQhrNEjtCOOGBUta1Y1SFNjm2RlR0ltdasB25kDImXtyjr56C1psm51gxTsazKAHrB93MRYKTnQYhbujO8A9VPTI6S+rk1Ki1vsOYA/14OGxEhzc+D+2PGxsnN7o+ajTe74VIa15Wcer5Ahw6IkMTFCSktbzKKeFQVY/HOekRlpEwk3fDxNXnquwkD7xqZ2SU1RRhTWLmUlbVJT0yofuipZRo+LkV//rFjyBkfZNyKv+G4mA5jsgJKTw2XzhkYZOEi/VeO/895M2bS+Xt56vUqmz0iQfXuabEIAUB+rN8pXx8Y66A2X1cvr5MvfypZIjfNQ1bJvEbwipIH8H/Q/IP/M80YpX79MHn30UW1LMbJ161aZPXu28X2+lb1dfvSjHx1SX+77g39PNJEnB+R/9Ys/kcGDcrvUFforwWvhsZ+870ZZu36JD+T3EjndCHJly7UP5Pt0Iok25g6I9sd+JID5gLtY7QP4QvABAH1W0GKtz2qp1NRUewY5rOBY+DfpdwbkB57peEzFRWdjKZ7VNzTqWIpViNHGu7jneo69on94l/HYIQ/0nKy68JZtPQG7wPI/OTHFnjnq+LxeI9JCLPYUkB9ct2AvhYWFVqeA98hkwHtc5bAKA+t7Jm5IE6Iejwb/8an/EDhKqFJ/AfJDY0TjU78gZASANce61fXyzBPlsnxJrT1z9xFOJcX0jY7wkQgsADuR8rLWg+G8R0N9WwcA//493AY0NgTcEQCgrF9TL1s2NVg4QIyKioDQIT33DmHfeLlSNq5r0PPwQ+JzR/A7e3Y2Wn7dtfcbj+bYtrnBLEQBUjpk6Umh8GiR6Cw9Mtv7xRGTKRKVcgjPOyJR/iUVxbJx+zrbIA53BsgqZcodddNu9xsaG1Tpa5PNO9bbuSl/StpabYlnftFeayuuPokHC5G6hjq7x233jPR45q7fp3bZU7BTduZvC7zjee7OSYN8hCKhBHBggf/000/b5oYPPPCAgSSAOCq05MYbbzQQX+WhKYuEp39SHxyOUEK5DxHGKaXdJd5173eHXFjSIb3OyJuPY8mTT0dHFC+udHZubzJf1YDcGVmR0tzcrry1VU6bHm8W6PDZ8ZNiTU5gOQ/QPXhwtFRWtqicaJRGlSnDR8Zo2HYZOiLarOXbWtr1XgCwp91hpY51f2JSuOTva9bBT5vs3dNsVu40jf16b5qmBwi/aUOjWbyP0Dgrylvk9DPj9T3uN0iM3h8+MtrAeWQB+S0qbJFtWxtkksbFfazxAf1zcqNk6PBojSvQjpgwOGNGvERHhul3t0hxUavljTBYyVeWt5mrn2maHtb69bVtMnlqnE0i4BaH1QiA9SkaNjklQsaMi7WVCUxkJyVHSJGmS74B+Qk/9Yx4KchvkrKSwORErpYbkxzKpnzy6aiIdgpgD2/H0h7/y6+88oq5UmMy98c//rGFg++7A/7PEcz7TxYBZu3Zu1N27FQZvWv7KXbs0GObyu4aX6755FM/J/gtvNfxYlZEYXl/7bXXyk9+8hPj23//+99tw3Lu44YHt5c8//jHPy5f/epXbdLWbaQLoRO7o0d4iIqEah1LIBqIjjGZOzBciIuNkfg4HeTqc3Q07hOusbk5cK73NCv2jCEVz7jX3IzsabcwDNx4Dm4dpbpPekqKTR5YWD24b+93KEWRhmG8/8s4ry/ILm/ZQxhNMiHzv//7v/LJT37S6u3rX/+61dcFF1xgRmEvvPCC/V555ZUHJw6cXPbJJ59ODnWwpUPIrn2LfJ+OhpyQ74oQcLW1bQYAsNnW229Wy/jJsbJ2Zb2ceXaCuUGoqWo1wODxv5bLZ7+YJTHxLbLg7RJJSEzVgZ7I4vm1ct2NqbJzW6Pk5EXZO4D4e3Y22fklVyQbYD9mbIy88kKljJsQJxd9KFme+nupZAyIkvbWdlmnzydMipXtW5vkk5/JML/Cq1fUmw/h7JwoczcwfmKsXeM6YNCQaAlXOYdbhLxB0TLptFgpK2uVNSvqzEUCgNFAzQugDKAP1pyEralps+/BipFZe0AhJhLwrYxiMGgIS8TDZPPGRrPqxEUC1prxCeFy023pJ1zQI8yxyP/Ln56UH//n/5l7iP5AMdHh8ubcN+Tm2z7UbYt89Jo3Fr6ojDDMfCxW1pTZJkb4QkyIS5KyqmJpaWYzuSiZOHq6vPz2EzJ62ESpqq2UuJg4mTzmTJm37F/6Tro0NtWbH8bUpDSpra+V2Nh42bd/h+QNGKb1HyMjBo+W9dtWS37hTo1jUoefxTiprauW08bN0Ny0y1vvvSiZ6TmSFJ+i/SBaCg7ssSWcydov6utrbFIhOTFNRg0Zr/0sPCQs8il7iE0LX3/9dfnb3/5mCiN+N2+//Xa5+uqrbWluMF/heu3atbbEF+AHdwuO8NXIhEBeXp5t1oX1iFvuCfGud7AQfJ2fn2+Wod44g8M44j7WcMnJyTYo4TvYYJH7kHtn586dFp/KSbMIJm8MgAjnK7+9R1jJx8QEJnEBtdMzIuX/fnrA+DDW7lTTlGnxsmhejfFq3NHs2NYkVeWtMkHPt29pNF4MqJ6aGiGlJVjYh8um9Q0SHRNurm+gwRrXbtKKDTdL9aF6vXljg6YZY77jSRsZYXnZ2hiYENDEyQdpIB/c/XNmJZp1/qJ5tWbNn6VpI68MuNdwXOPmJyEp3JS0iVPizW1OTXWruQYiv4QjjwNyIuW8ixJt0gGL+szMSJsoxm0PshIZWFnRJnW1rVKsYZBlyLHioma59MoUWbG0zqzyhwyLUV7XLrHxYfqsxVwVIa83rKuXSi2r4aNi5XxNx61066tEf+xPFvl8g+NNjo9wzkEQNkx19yD3HuS+/2TxH2eRf8a5I+XDH77WJmudfCJvLs99TWZ5iTzqOMcmm3/5y4dM7nTgNr1CVq8k0ItpHDVRTZqfxibldyr7cLdB/+rL9RaK1Fmf4Nq3yPepLxFt0MmW5uZmW12LGx5c8LARKudYeUdGRpqFPu4yOfCvPmzYMNONg9txZ3oyYTqzyCfpsooymfPe83L6hHMlWsdnLeb+JjDpi0ud3AGqo+u9iIgo7UvN9hxXOPAwCFc6YRoRrniG5Y2SYn0HFzqLV78t40ZO1fFdvI3PGNcNzRstBUW77b3mFgxHdEyv37Ziw3vmVz9cx2ItbS0SGxOr478sKa0o0vFkno4nK23slpbMON9eP2qimPje7ljke+vFS1jYM07Cpd2SJUusjkpKSkzPGDt2rLnLmTVrlq2sYJxDHJ3Vh0+nNrmxfCiS71rHB/J98pA22MMyeATW6y9XyfatDXLpFckGVnzyM1ky57VK2bqp0QQTr+PLt6K8TW65PU1Ki5vk8b+VyulnJNlsOpb0w0ZEm1uDA4XNZqk469Ik2bKxwawIsYqMiwu4DqipbjOAYfS4WHnm8XID2WPjw6Wuts3cLQBgXHtDuqxcWiPz5tYYiIJbhBXL6qSpgY3VRPKGRMu+Pc3aIdo1X9FmJXnHp9INdF+8sFYuuCRR3ni12qwXL7k8yb7p0iuT5NUXqzS/+v6gSKmuwoJBC0C/LzU13ECdCZNjZcfWJgN0EhIClv+UD7IWK9HpZyXoO4f0014nmLEP5Ae4I1YXG7evkR17N2q9hRt4vnXXOvOLmJGWJYnxKbKPjZNGTJWxwyfLa/OfluraKqmprZTszEFy4+W3ytwlbxoYv3X3OomPTZRLz/mILFs3z+Kob6xVhfOA5GQNkcljzpCN21ZJeXWJ5auoNF9OH3+2KnvlMmHU6TIoe7is3LhQqvQaZRMFFJAmKjJalcwCiY6K1W+MtWdXzLpJ01JFU9tuXwTyvQrl/v375eWXX5Ynn3xStm3bZsrinXfeKZdeeqktwe2Mn/A+g9eHH35YcnNzEcIG6uOfk2crVqwwN1yA5lgD4buRpb6EBaQnnApJC8PSUSYDhgwZgowzUIYyYsMuQBnAd+Jk6TAKMvfc5AEuINhc8d1335WPfOQjpvg+8sgjcuaZZ8qYMWNsOSrfw7tsyItffzYIQ3E+44wzLC/knbR9pbh3yHgq/7R4kS1Yo69YUieXX8OABPAzwF95pmNOkxlY7XONLOGcpsqkK7wZxsA11UUY+DsyAqJr4WIGgBw54nzkkwbvEp53kV/EDQXfR5a9H3e75QfimYvLmJPe7vixOHg/kJfAN3HN9zD57MIQpwtr0Wg6rHRzZcP7WItBfAv37L6WAZMW9EXcesEXee7SIr+UsyvLvkz05f4C5HPU19fZXiFVVZXKL9P1m9izoV7bSwBQSEgI7IcAn+N7A+/aLamqrjTwIjU1ze4Rn1v1SL1DLizEPXfNOfVN3gjKbXePeLpDhwPyQ4koA/L93e9+1+RMd9oV7wRTd8qNeqQO+2rbRcZ++ctfNvnpy7SeJerctRvXT7j2gXyf+irRHt0BwePQ+dF9cdOCro5LHnTvZlVY0tPTzR0P+vWUKVNMj8YQh7EAfM+R45UA+Z+881Mf2Oy2pLxE5i5+UdJSskw+MZ6K1LFSVXWZJCUGXPsAuoeHR5rRVVRUjMqjSLvHeC0qMkZSktKkTsdop42dIYtWvqnxhBkIP2LoBNm9b4umE2kGXFPHz5RHX/y1xthuhln8MgmAH33GacNyR8uazUvMXz7udwakD5SUxDTV52IkMzVHBg7IMx3qWIhiRRQEA/mO9wbLCaztMXTCsIjyx9/99u3brfwJy5gIF0j4vJ88ebLpSexbA1Hm7vDJp2ACRwlV8oF8H8j3yUPaYA+vwGuze/2VKinY2yQzzkuUN/9VJRd/KFmWLa41X8DV1a22oR9WhVjZX/PRNNm6uVoWziuR6qp4FTRRtjHh3t3Nqsy2m3U/4fET/PzTFWZNv2h+jYwdF2s+hLdtaZRrrk9RJiPy4rOVJvgGaBgD9DvA/vMvSpYNa+tl5bJaA9wBUADWWzT+BM3TubMSZe4bVQZmnH1egoart439cAeE+536+sAqAsCM8y9JlGWLas0SEvcGuYMiVQEJl7SMSLNsrK1tl0uvSLKVCDPOSZD579aamwMmJgBGsMbHB/I116dKtF5jkXki5SbM2AfyA9wRwGrP/p1SUV1iVvRYX4wfOUWKyw5IamK6xMclSm1DjbX33AGD9X6hKpBFZq2RmJAsuVl5UlRSKI3NDaYApqcMkPTULNlTsF2SElKltQ23PHVm2TF44AjZumu91nWbKYzhqo3u1bQB6c+YfL4MzxsrO/Zu0ly1S2VtJR1Nhg8aTS5N8azXeFBE+aYRg8fqN2m762MW+SjzKIsQFiDPPvusHSj2+Fu87bbbDMB3imNXeSUerN9ZvjtixAgD01FIAdYBzgHGsQrEkgTQHCt5BrsA+CixWP8AdKHUYv1/6623yhNPPGGDBpTgRYsWmeUJoAkWQ4D++IJksoENF7EwQvkln6wW4JsA6bmPRQsb7wL4A74xYDn33HMtH0wAsNIAIBFwn7ixPiLuk1kvpxrRBOGpwXwV2cA9fqHgcy95w7pn7pz4EYHeZ17q7v3O4j4cHe79YOIZ1J30Oovn4D391f8feN5XCd7RH4B87uHK5C+P/EbS0gITmJdefJU0NzfJlq0b5e13X5epU86Qc8++0AwFFi+drzIpScaPnWTfDTAyf+HbkpaaoTxosE0Ix8XFS/7+vRaupaVZjxbVyZKEzf8ATEgvOSlFJZDKoMoKyR04yNKr0ftJSclSXlYi6elZ9g564JGovwD5EOV/ItoTgAtyDJ2lrxL6UHfq36ejI9oX7Qxy/YRrH8j3KVSoMz6JrowRDwf6OEY5nKNPw0do18OHDzddHx195MiRdiDDcCX6qbtny5dv/79DNrttaKzXsdsOHRtVmW4SExMr0ZExUl1boWP+WOVRrWYpj9wrLNkn2RmskI2RqpoKmwCPioiyFdeFxfvkvOkfsjCsvC6tOCCZ6QOlvLLEDLNy9L2sjGxZtm6hjuNibLU0ChHhiCs7I1cy03Jk577NMkDPA2PEQsnNHmrP4uOSJTUJg6VAWRwt8a0UJ0D+vvKNsmL5SptERXYzxkFeMFZhbLR582YbdwHio0+w6pixEuMhwHvGJljgu/EXdEQ8xyefOqgv6yRHIh/I94F8nzykDfawjB/Bg4Ufln34Kn5vfq25G5h2RoJERoXpdY0MGhotOQOjzDXAuRckyr69tTJvbqlMP3OAWdPv39dkceHnHlcCuC7ALc2Gtfi0FwPD8Rl85swE2ahxDBkaJcmpkbJrR6OBs/gKxnUBYDv+9rF8x/UCYP6UaXGye1eTtDaLZOvzCM0T7gb25zdLVHTgnHdGjiY9VRZ2NcqY8VgKoKDot7W0m/U+PI2w+BvG+j8rO9LuQ4M1P/g65hnWkHt3N5nF5Uj9hlZ9n/g5iOuyK5NVaT9GKX8MBDPuCshHAaN+OY6WInTQ3trJLq2m2OnRegzKghu0dCc/xwLk2zOtU+qyrr7ZFDzOSZZ6I0wgBzqw0mvCYrnLA7Jk1qvc01v88oncx+rVktYHPCMeriORg+6G/lZWqSKr/5ITkwPWsx3Pq2u0z0RjRUJ96K2OeFzazYgUpb4C5FO+EGljgQN4jw9kLEdZsonfzPPOO88Uy+6AAG7wCuAOsI5yumDBAmufWO8A1uNKh7hQZFH+Ae9Y9k+aWJq88847BogwcGCQQFgAe95HkeXAep5nKL2A8BxYHKIYM5BgIsD9siyYFQAozFjIYmXEdwDq8/0sVSUsS4rJJ/fJJ5MNbOR7OJ7p0/ETlum2urqDOliH9R/ro3ojYE0cuOb3cM2QSVsvX/bG56g78XSXiN+tICC+4LiDnx8LUUbG17r5PuEhV67kqa83Y+q53wD5dbVy72duVt5yQH720z/K3x/7vYENWAOWl+PuK9UqE5drgAybtqyXm2+8U7Zu22hg/f7CfRIflyBbtm+0SelBuYM7rPTbpah4v0yccJq5AyCeDZvWaOW2GyBSXlFuYAEAf0VVua0GyMnOtdUBX//q92VgTt4hfaMrOllAPmV3LDpMTxJtj3w46o7cg5j0Rm4hK0/2N/h0YsnbZlw/4doH8n0KZaLNemUxOjrgPno2+vmmTZsMfEYfLysrs/Do2Ojiw4YPk7Wr1stv/uMViW1LtKGTI7qCG1cC2tMzmlsC4zgIuch9KFgX4N0tO9dJU0uTTBg5ze4B/mMgBYbQQv8j38TbkQ78GJkIcc4kg7uGCFdZXS4bt68yS/6kBB3XHScLJ06yfvfXr5KNe5fKD/7jBzYeYRzCZAgGRPCHqKgo4w+4LmI8hMET4yBWHDPWcd/fXTnkk0/B5Mb5oUg+kO8D+T55SBusCYPDEcLHEeADxHvID+81ApuoGCCau5IBuXqfTWA9EXQQA0fAFS8Bahi4QcSdxE0P4A7vIscC8bq775OL5/1z3gmAOcEE8BpYbB6g978jOI73B5Pue7zX7CHAJEJSUgCsPVEEM+4MyCdvbOQaHRWtg0j8Crpy6ihLT94D5yynDCgGUEVlmaQk6+Bf4+e5C0d9VlSUS0rK+89cvC4OgO+Auwv3jpafKlCtqlhxrvyl473303fXjrxA/m9+8xv59Kc/bXkjHOl2BeRT1y2tbZYeciq4aVvN2Z8A8RxA/2Dy73+K3cOysaKqVLLSB9q3Qfy6YJ1RRzBwlPff0aOxqdmAmw4dzFYKYG3iFMSTCeRTD045ZJAJ6I5FOxbrKI4f+tCH5JZbbrHls9TfsSiQKmfsXdICFEe5py6xpAfIZ0BAvJwDwgN+EBbf9FyTjzfeeENmzJhh99esWWOubrjPNYMJ3uG+e4brBCYHVC5aWZImxDnxuvIlXdInbVYPcA3QT7oAceSbcyz6Scun3iHGUQDNTIyyksvxXSZOOadP426HzpeUHG4rsPA/z8a1TBBzn/qBZ9M8nZwoPtBsE8K4yOE+k9P8QyZQncRdXaUJ63lSUkDBdeCmkxsH5YD+804yOHLxkAny//w/KuTDN6Vauvi7Z8VZXHygj8GncU03eGi0TRATN2NUryxy5E0X4D6QhsjeXU2SlRNYQeb6It/KWVtQ3uHH+/ObJD4hwjbxJa9sLpyWHvjWo+zKJ4z4nv4C5NfUVss3vvN5SUpMluTkFAPvMzMHyN69u7TdYyTQZnIVIuz69avks/d9RUpKi+XlV5+Vm66/3Sz3o6KjZNjQUVJZWa6D/VxZt26VqNIun7zzfvnzXx+S2Jg4s3AcMni4plEm+/J3yzkzL1CZucLaybhxkyS/YI+cPnWG3PmJu5XfBQnJLuhofORzzj333JHTGdxxJCIMwIYrQxenSw8+Dblz4g9OE+J5d9LrKt/e74NIqzvx+UD+qUveNuPaE9c+kO9TfyHarzu8hE6PMQyrawH4sS7H1/7OnTvkQGGZ/ONXiyW6Jd50FYjXOY7EIhmrdWJfZqTdzbSnlg7W7bLU2IQL4DCJ0bGwxa/3iQfRQRjGaY547vJiahbn+kOcLj7CuHCd0eG+weLVtD/1rWvk7SUvm0ER7omYaGcFAxb2GArhrgi5gaESfMQRMsQdPvl0PISuFKrUX4B8aiCYjdj1xIkT7be2tjZMmWmY5iVMMxiWlJRkvxzc08TsVzNy8D6HfpB+a4Bmz579AHH51L9JG23H2ZGJoO4IvuZAYALY1dc1GhAW/Nwdnb3r7rmmHvzcHYd7xuF97s7db3cPb3jveVcHAA2++jk/kaTd1Nx+rFq5Xi69+EodMLTbgDu/YJ/84Ef/JkuWLbDl8ynJyQdn+isqyjSfgEPhUl1dJZF6r66uRhobGiQxIU6WLF8kf33ktzLzrFm2eRCshWX6UVER8u78t+SFl5+SqVPOtPgAlXhXeYe5sikrLZHX33xZhg8bpfdrJWAVHy5NzQ0y9+3XZPeeHTJwID4BA+VWWVWhChMAXYez5w5iY+Udu3bKP559xPwvzpw50wbD5BkqOlAkC+eukItmXGXgFoSShAUFGxwxgVFVUynb927StPW7I6LNn2KFPi+tKLZJDqwZWZ6J3/x9hbukpLLYwmIFUlxaKHGx8VJdWykr1i+QIbmjbENb2jbv45IHsIXyYbPcssoSS4My2Ve0R8qrSi2vB0r3kzO9t1s2bV8leTnDZNuezWb5sW7rcnOJkJ2ZY2WBhf+Ofdvlhbf+LldeeaUB1kfTN4+FyCMH6WAR8pe//MU2Anz00UdN0OP//lvf+pbcfPPN5o8Roq6PhVTWdJyJge9ckwbguinaWr8O8HAgP4e7Jp9Yp/AuwA7W94R3AwnuEZ58AuJjAUR4lqLS7nlOHIRxeXFpcB2cD8jlg/dI16feIy1iyd/bbCu7FrxTI6PHxto+KjFx4fLCM5XGJ3Jyo2TThgZz7QZI3aqjsJeeq5ScgZG2kqq2pt1WaKWmRdgKmLLSVtuUljATJsXJts3wwDCZ/3aNuXtjpVZTY7ts0nQWaprR+g77tFRWtlocaFVsiss+K0wabN3UYOEB38kv/E+zZYSbN/IeFx9hm9Xu2tkoEybHK48Js81vAf/ZDwaQfdniOln4bq2MGRcj2zV/bLp+QNMo3N8s5WX6W9CsPLdNDuxvkaRkTVfzV9/Qbpvz4h6ONHFDl6zP+I2IhA+3yc5tTQbMOrB+q34v+9I0NrZZuDUr6+27CjQf7BnDpsDki5Vzh6qYfYPoj0z6hdIEGvlUZV9eevEVlcnXGm+BjZP9oYOHy2WXXGMW9iNHjpHU1Ay5+sobZOSI0TLrvMt08J6lg/ihculFV8mVl39E6ztOpkyaJlMmT5dJE0+TM6afI7kD82TE8NGSk52nsvYlyRqQIx+78U6ZMG6y8qhEGTVylLZLNkkukltuulX27tsnCXGJcvedn5FJE6ZZfi6adbnJ6OSkgL/97hBtvbqmWn7/5/+TcePGmkxwegSTpfPnz7fvxgUZv25PEp67AzAHIg/wZHefMvOG45qDVVfLly83l2bIXlZIAXqQHlaf8HRnEQrPBjRyrmy88TEJ63h98DPvQb53795t4IpX9rr8OPI+OxwxoeNknU+nFnnbjGsvXOu429os4yNvm/LJp1Ak2nbwgZEMrnSYrMIFDCtx2ZfqxhtvkkUL35NzT7tSosMCPvTpAuwVxhgJ16X4sqePaEw8Vf2E1e4tZgi2eec6SUlU3qxPGKeRFmEIT5hmPdxYkrGcvq3jrY3mNiclKcX0xaKSfNmVv91WteUf2GsrqDH+csRmuiU6xtuxd4uUlhdLXUO9js2idYxXLGUVJbav2t7CbZLasekthoesFsDoi/x4rfqDiW/leO6Nv0t9a4X8+c8Pm8HWvffeK9dcc42N+VgJDIAfwE8ChpauXAPf65NPx0/oO6FKv/vd797Rn3aVn3Tcg7968Hvw6Ljf5bU7tCy0G7e36y8/Fo+71v53yK/ymnbVIdtVp+PaDP9Ul21HB+Ue+iW6LTwQYjU/xObUwYT0D9YA7Nq3yPfpaIg2eyRgDsFj4qMbMiQ8Ar/xdVJeXim5uQMPWtcHE3EyMHRWj16y9IJud3bvSMQ73veO9v1gsviU93VmjdkVATZhUXm8aXdFMI1gi3wArFWrV8njT/1Jrr36JvnX68/LkEHD5L2l82TGGefJhk1rDbxPTU6Tnbu3mR/e/IK9Ul1dKd/79k/lxZeelkVL5sm4sRNl/oK35PzzLtEB8hb592//l/zl0T/qYDpfEuKTZOeurRpmstTV10piQqLdP+vM8+TlV5+Riy+8UpYsXyjnn3Ox3HrLXfL9H31dyspKZcrk06WiolSqqqskL3ew7Nq1XbJzcuXrX/m+toX32yEW+XPeflNuuvUyU2qwXMCdCwcbj5ZXlMmPv/lb+ffP/fKgRT7189Z7LxmIzp3Y6DiprquU806/XBWxSLOAGJo3WhW5fbaZ0pWzbjH/+POWvWr+ExMTUswnIxvUpiSly7gRUy3ipevekdMnnGtA/s78LZKWlCHbVTlMS8k0ID87M9fA/SljzzKFdHf+VquX4vL9kpacKTFRcRJmkxmNMmPyhbJo1RwJD4swRh+pSuvFZ19r7eNEWeQjfNwAkqWvbDD70ksvmZ96lGGUSZTuiy66yEATqCfyQZk4fkMeAvLyfSJP7h7PIa5J273rDePIfQvxcu6uWbIKkAKgzzsuTX4JG3yPXxcH5O5xuHTdr4vDXUOce7/N3ffpyKRFZi7L3plTo8oQE4c6kFN2QLMDlC7Ib5IbP54ug4ZEyZOPlElVZZtERofJ6WfE6zvVyiMiZejIGFmzvE7q69vkkiuTZdyEWHn28XJJTgmXHdubJTMrwsB2XK6xn8s0fXfmeYnywtPlEhsXLqtX1huwXpjfbKD4p+7PlIryVnnmiQrb6HzYiBhZsqDGrO3veyDL9lnZvLHRXKzhWu4PDxVbPKfPiJf8Pc2ycmmtXPXhFH0eK6/8s1Lz3CoJichHbT/6jeypgtbGRu/s21Kh8Y7VPK9fWy+xsWE24UB+L7w0UVavqLfJhCHDoqWqIhAuf1+T8T4mFUqLW0w28Q75u/dzmbJudb1s3dxgkwqEYR8bgP5BQ6PsW159vlLOPDteZl2cZM/6YnOlT/UHi3zHC5DNtGmH62pQu8b6D8tALAVpE47d8lxZivK/wD2uOec3P79I1q5fKWPHTJJhQwep7A9stkwxbd+xx9zzDBqUrbrAWhk5fKzExQcGFhaXthvS68x9XlfUlUU+vJmVW/v27bOJbAYuuAAAFGeFE3yYyVWs0ykbAP5Ro0ZZOMqFQQ/ApuObTJ4yOELO46ph5cqVcv311xtY//jjj5sOwOQO7+DqjVVXgPq4IeAechVLUNKk7QDss1Ege5/gro2NzJFzpMVEL/kmTfZZWbduncnET33qU/ZtjsgbeXfk5MeRyLfIP3XJ22ZcW+KaPuJb5Pt0qhFtHfD9nrvuPcRHPjKvsGS/jt1ekEE5w3X8tE1lpvLjxHQpLS8yYZeZOsDeP1BWKAMyBkp1TaXKowiJiIzS8SeGZK22jxkDtgvPulqv2+X1Bc/a6rc2lXFsWtuqQu+imdfa3mXzV7wuZ06eJbv2bZHhg8bI7oJtMmLQeJk0erq8tuAZC8t4ML9olwwaMExSkjNkf/EeGZo72p7tLdyuMjxK+3K98nWRtNQszVOFJMYny+XnXc/X8skfILo78tn5yF+2dLnJh+7KE5986ilCbwtV6i8W+aExovEp5AlwYPsWVTyLmenGmjUwUOSXw+mh7rq4sMUsDAEidu5oNItC9573QK/F3YH3HnHV1rTJ+jX1h9wD8MefPj763X1vHrzn3kN1Bh3wtZr1IZaeneWfc0funveZ95o8l5WwrLvz9DiYjPde840Mmk80hWmZAZwDtqM84W+XDe8WL5svo0aOFTa9W7ZikfnKLS0rsY3whg8fJbt275CxY8bL1CnTZcWqxaqgpGsc22TSxKkyYfwIGT1ynL4/TjZvWWeD3+07Nsv0qTNk5lnn6yC6znz1Epbl/Fg6oPRU6EAey//x4ybLxs3rpKKqUrZs2yg7dm6TseMmmbV/Z+T0mquuuso2V3333XflwQcftEH9l7/yJRuMu/YHcZ6cyKbD0ZI3YIjdGz1kkn5/o6QmZ0pmWrbExyYoJ22XQdkjJCs9R5VB/C+GSYY+Q1EEmE9PzTalCuWqqaXB4gHwJ3x6cpbWa6RNZMREx8rgXC2TYZPMZQ4uDZITU2TE4HGqHI6V4XljtK1ESKa+F6bfkq55gI9XVJVY2QDsx8UFZmt7m/g2BDcHINPSpUvl+9//vpXlAw88YLPFH/vYx8ydzh//+Ee7j0WNyjI7jodIm8ErEwb4gGSAy8ZYgC4qHK2c+cVqkl/KntUB+MV/+OGHbQNagBu3OS0gDwf1T3gAHp6RDtcAMcQBuMPkBOlBgDu8x0a7gEvc55d8LFu2zN6zOm9qsl+sR3HRQ96Jn3vkg+fkg/d4nzS5R/zkgfLlmUvXpyMT5YarGSzu2Qydvg8wCXA/fGS0WbmzVwnuYGpURtRUtxrgDnCJzCgra5GGujaTV2PGxaryFCkHiprNin3I8BhJSAiTEpVhuYOibH+WuLhwGT6KFTRtBpCzb0piQrjJiaycKLuOig430J89W3Zua5S1K+tsohqreHRgzuPiw7TvY4HdLuMnxVr+Nq5pMFdrdBvyjcsewHdkwzmzkswFEJb07MPCpDCrAspLW2SAXgPUDx8ZIwO1HNgzhv1o1q1usHwwsTFiVIy2e/Z1aZLG+kA5kG59Q5um127APBMflN+eXU36vc51D8vd26VwPxb77TbMxCWRFrytBiC8T71Pzc1tHTwmcND+Wlr0XO/z2+i5x0F4wHbC8mth9DmrLrKysuWyS66QvNxBdg+exy8TWYPyhthzzieMn2zueIiLg3ebNZ6jAfGPRHwT+4xgfY7VPCD9e++9ZzyYfD3//POaXqu5W2BiA1755ptvGsBOOHjov/71L/OvzH0mAHSQZPwVC3lWHRIPE8vwYlw1AMAjM7jPRDRxsPEi7tf4ZR8WZAOyhMkCABN4PFb+xEke0Cnmzp1rMuGf//ynAf18i08++eSTTz1L8GoOL3GZlJAiAzLyTB8ZqGO3IQNH2VgNF6nZ6QNVXjWpnhWtvLnVjLLQrdnwNj5Gw+h5TuYgyUrLMReoewt3Slt7q40BY6PjVe+KsHcwvEpPydIkwiVRx2+4smMchyFapo75MlKzpLKm3DbZJY+A8ozj4jQfjGMZW8bpGI80yN9gHUMy2cC4MkvfHzVkgsXf3f3jSAOZ5c598smnU4sYh3kgLCO79i3yfToaQoAcaeCydFGtpGdEyuaNDQayDBsRLe/OrVUhGC4zz0+QhMRweefNagM+sCyrrWvUAR0AXYKBEiznb9IB5uRpcQbWAILgm/e1l6vlznszzHKQeLGO3L2z0QAXrBYL9jXJh65KlhQNu/CdWmHF3N6dTTJgYABoeW9ejbX6s89LkFUr6nXwGG7gCBMByUmREhEtsmxRncw4N0Fi48KkuKhF8yRy/kWJ5loBEGXamXEyZFjAjcb2rQ2W1+GjYuw7BuZFya4dTeaygQFwNH7bX62S2Z/PklXL6wx4SUqJsHeSkyL0u9tkpqZF/nfvaJTxk+Pk4d+WyMfvTJfTTo9XZaDnhTXAbLBFPhMIDFgfe/LPWjdJcsmFV8rS5QsFNy7JSSky5+1/SW1NlXzsprtl157tMnLEGAOhAUZZ1g/Ij//ePft2SWVFuUyeNM2Uk7NnzJQ1OkBmU6CVq5aic8mY0RMlUdNoamqUZcvfkzNOnyEF+/eZr1826Zs4YapMnzZDXnrlGSkrL5G8vCFSWlpikwAA/+/Me0NycvLk37/1EwMpHHl95P/2t7+V++67zwbgWOfhv/2ll1+QkVlnyE+++gebsHElS71x7n4h17xpd4Bh5BtyOIbDW9GlvO853Yp7WC+6c06JwoVzN1x49yw4Lq6ra2tMWRySM1hcc3D562mLfMBRByYDYANMA5K8/fbbZulIHWClePXVV5uVI+4EoO7whKMh8oHPzMcee8zSHDJkiLlGwHKSdHCRA1ADsOKsUzgHxCHfuMYBHCceLNmwtATowd0G17zLvcsuu0zeeustu8bHJEAQG25dccUVlg+eATRRDh/+8IcNFHruueds6S9gEqs+2FAKkIgyYAKB/GJNSZ7IL/nhGnAId0+kxX36IfnF0hQrUN5jXwFnderT4YlmijuZBe/WWl85/Yw4s3anB515doIsmlcr512YaP2XDdFxZYYrKsDoATlRUl3daoA6rmvYp+QcDYsLm9dVxiB7xk2KMzC9uKhZzpiZIFu3NMigwdHmvgfZRTzpmRHmxx4XNMOGR8vpZyVqHupl3ap622gdq3lA+UGDoyxPdHTc/UB1da3y7pwa5YPtBsKzqXpEZLhcdFmS8tN22bi23vZQGatyC3dB0THhMnhIlCxR2UoXHz0uRpr13TSVs6wWYCIA2Ym8BKRnsgIZTFuqLA9MEgDuIzd37WyWCZNiDKDNG8KKgiY5/cwE29x9+ZI6KS5slrNULrHSATc9uBsinjz9jh3bmqxcmTDoi82UPt+fLPJDmQ5nkQ8gz4QnE+4A8rg2e/311zvkfMBKnv1V4KmE4x4gO6vtoAkTJphcwpIfPQR5xEQyFvhM/iKj4PfIEHg9ZQqIz6ox4oJ/Y1HPPZ7RVpAluCcgHeqDNoTbH3g395Ah/MLDAfA5R+4gN2677bZDZC/xUa+OkAfdqVPfIv/UJW+bcW2Ja9q/b5Hv06lGtHXcz2CR/5U7fnnQIt+e6cFKalydQoFNaQMuWesaas0dTl72MEmISzLregynYqJxhSnS2NworSozAOUB+ncXbJfRwyaqLoYLwnBzj4r1PAZerLzGfQ+8GAM30sN1T73e4xnXJeWFdg74T7iGpnpLt6K61FZY8x0A+xhpsRcN+8bFxgTcbnrPOyPyixqDRf7esg3y3qLFxgeOZ5znk0/HQuhtoUr9xSIfvhesAdi1D+T7dDSkDdYGJV0R4MI/HiuT0uJWyRwQaRaAABNXXpcq/3qxUm66LU0HXiJP/q1MzpgRb8DAxvXVcu2NUbJ9U8AHXoz+rFvVIKPGxsiocbGyfnW9DB0WLSpbDTRx4ML9XxpgbhJ2bG2QvCHRBnaEa7ufcV6iPPN4uQ7Y2szPMT6S6Q5nz0qQua9XG3ANUF9d2WabHo7UdPCLjKWhgfHbG1V5brf0N60DRAmTKafHydJFdXLhJYkydkKcloPIP/9Rbhb3uEbAlzIdCetGAJGJU2Jto0AmFxo0LjZLbKhvNzCFDQv35zfb5oyA+FhlYt2JZSerCK69PtUmO3pjHAcz7myzW5QN3CygOFA//MK3iw6UymuvvyDDho2U88+ddTBPrgkAlPHhhIdQOgjDgQVfBDeCnvGuu+39ROLgOQA9LgXcNYGYlFm7br358D/37ItkxPBRGs/7b3uB/Iceekjuv//+jicBWrpsifziB3+V73/hVwdd60Ck4QXeD6YZdN4VEQZy4fi1Wx33ScjC6MF3u/BdkTcvEOEpK+okmI4XyPcOHCGACVwF4Epgzpw5ZjHJ82nTpskll1wil156qYHqtKEj8YHjIdIkL0wiANRg/Q5gDiiOdSWWlQDvuEhAqcVq84ILLrBJG0AZlU9yzjnnmMUkFvGAPoDw5BfwHCIuwJdXXnnFwCHcN/BNTGgBAlGOrAgA9CGNiy++2MrrmWeesbhIg4kMgHfSBQBi4yksO8kPfitJG7dDWOlj4UkY8kz5ATLhD5p0AZ6YnGBige/trXLtb+T6Bb8cNH36H25IKELri57+ZmEI36GP0s24hs+5cLzDuy6O1pYAz6ZPMpFLHITlPn7mOccHPjKC8Dx3Lkvs/dZ2lVsB63gvWRwdXRW+6yZUD0fuGyHyTPzBRLx8A+kSL2G4Rk5inQ/YT1r2TR5WwSq2Ze/VqnxtkMEqS8+ehT/mjodK9m2aJt8RXK59ieAdoQrkf3r25+RnP/6LuVsKbi+hSPSh/IISmXLmoA9sdguPg9/CCwHi+eUe5xwA+hBhnKzh4H1Abh1zGMAJH4bn8z7lqGMUu8f7XDMhzC9heJf3iI9f/OOzAgB/zMgDwrg2QxjCu8ljromHg3S5Jjz1Rlrwdy8Fy1YXx5HIB/J7h6hWVx/ojd0pWoJzaNUdluDbR2N0Y/HSzPQV4nZ8FRDx/Twyecq94wPyyRvtiLj85uRTKBFtvSsgH0IHshuePuqMoaxfaR+jzeOKB/3NtX96EP3PvXPwfkfXcr+uz7hr4nPvcM89J3477wjjfY9fL1lUQfeDw3iJOIjTB/J9OtmEjhWq5AP5PpDvk4e0waow65BmQYTQwUfvU4+WG6CfPTBCMrOizCLyNIDwhbXymQcHmPX5mlX1UrBXB1zx4VJb0yyDh7dIY32CWUgiuNLSIlTBDTPrPyz8AU24t2N7k6SkREhOXpTMuihRnnsyANgDmmNJOfWMgKuAV1+oNCV21iWJMn9ujSoE7TJ8RAcwHxtmQEt2TpRZVk6fEW9W8m0t7ZKk75aXthoYc94FCbJ4YZ2BNoOGRptV/UduStX3InUgGC7vza+Rtavr5fSz4s0tAZsP3vDxNFn4bo2UHGiWocNjpFnfLSlqMUt8gPuC/GaZqmWxY2tgg8W9e5vM1/GwkdHagaNsk8Pb72HztcML+GMlmHFnQH5XhKVDVLQqMMryWF5/MglXR4ADgHfBy/w7A/KVr9ozvnntujXy39/+vfzH5x8y8M4VrbZm2bVvqwxIz9XBeKRU11abCxx81+/K3yLjR0yzAXtjU2CiBrYZpg00KiJKy6NR9pfsMwuNwTnD9b622Y7BGP2EzXxZZllTWynl1aUydOAI2wgJ6xCsO8gX4SA2PEJpLa8qlozUbL0DyBEltXVVZv0xMGvQB9rD0QD5bgDIrzsH9MCtAe4JcBmA+xcs0gElAKUB7vEpDMjsgJXuAhLHQ+SPwSuWkADlWE1iBcn5aaedZsA+FpwA7VhGqjwyUIZ8qiwyoJ3JCPwZ8y1MCnAfy3qs6LnmwPL+xRdfNHAda3lWcFB+gO8ANCtWrDClGVAGsB/f+VjpA8IDtJBPgBfSAJTHMn/cuHH2LmAUoDygDGVMvNQ3aRAX5WntSr+Tb8M6lHRJq7fLtz9RR1O2vhF83mkxEsZzPzicNw6oq3i89zuL40jvQzyDeG7h7MJudUnedw5HwXmwXx3lsurA+8xL3EfuqYqn/TwA/nQ3vb5C9MlQBPIBnD/6kRvkzOkXBCz7Op6FMrH6pKqqUv7fQz+UG2+8QQcmTx8in/hueJ3313vfey+Ygp9xDbl7wdeOvPeRG/wiGxxx7cJAwel0Rd53INqe9z0fyD+JpNXA6i02JW9XvsaKWlycufqB1zGRGUzoxkzSYlTTVRsgDO7VmCBlfy+34srbbgD5Gcu4GPJV56+pYXP0SBuD7NvdZOOOlJTAZBCuPSOj2m0FL5lnkol9onJyBmpeiRudtiMdOIX+P6StdeSD78JACeMkJpM5+gVj8emUINp0V0A+/YuV4E06BoO3pianap8QqW8AP4iQaB2fQwD4NbU1kpSQeHDyDKrTPhWn+rd1G+7RNbRvoTK0qIjivpsU4JxnVRoPm8AD3B+MS58h0ghLuPIqNslNtfODcTvSa8auR0OWD03LB/J9OtnE+DVUyQfyfSDfJw9pgzXB2RmhDK9aUSu7tjfLWWcnmHXf2PExBuTjcgahdNfsTCnc3yxbNmBFHyW414mLa5XXXj4gCQnJMmFynOTvabLN+UgGUB6LdYQZVvhJyeGye2eTTJwSp++Fyz8eK5dLLk+SPaoMaxOVyVPjpLa2TQ4UItDDzHUOm/ft2tFoVvP4/511SZJs1vRRviEAdZdGkeYtPTPgcxm3CeXlLVJU0CKbNzVIrQ4EUIqZlACkX7MisFHi6HGx8uwT5TbpkDc4WlYuq7NwTDzs39+iCnq4fT/uEBob2s1NULXGhesCxpCsSmCPAHwf49t/kn4D1+ShpwlmfDRAfqjQkYD8NWtXy0+/84dDgHzqe9naBbJt7wbJzhhk4QqL98r0ieepAtgmqza+Z5sp4ZseQN0t04yMjDaFjjBlFQcMlM/OGGibHeELkQmAZt6pr5FoJgVYTqn/2Cxp7ealmk7Hpke2AXpYR7yVkpaSZRsrTR5zpuwp2GbgPss/SzWND19ys+bDPucgHQnIDwYTAI0BxfFvj897LMVxmYN7AMDp6dOnm2U7IDmANOUBHa7P9yaRf4hvIA+OvNf8Eo7fzu47cs8hvoVn/O7YscOAE8B/iHDesN533H0XL9eQC+Oee+PgNzi8ewZ5w7vnPh0fUbQUpfsNpuD7Xkv4YMvKruLojAjrACEDwrmnx7FUK02GtuHNj8tncB67S53FGUzB38tqOtLtaMJ9nvi+UAPyIfL9xBNPKA//vJSWlnXc7R/ERKeOM+TRRx89RD51RY4ndkU8p26D4+I+FPxud8PznFVUyILjbTu87+KHnPw4EvlAfs8SVcDk5Ly5NeZuDED/xlvTbKywbHGtJCRG2B4oyxbXSe6gSJvE3LKp0UB0NgFfu6reXF2aC82R0cJ+Izu3N6oOHynVla0yZHi0/OvFKtPdzz4/wcYo7I/CCl72CmNT8CnT4mXXzkbZqLp93qAoaWhsC2wiPiTaxhiLF9TK9Jlxwmac4ybGyYqltTpOCZPSElaEhGm6EfL2W0WqX6baKmaMn1YurdP2KubujG/AIInN1Fnhe/b5AZej+/Y02/5jNOWp0+Pl3AsS9R2/TfkUGgT/7AzIpz0XlxXJ/OWvS3bmIBs7zZx6kaxcv0Cf60Plm8PzRkttA25JK6S0vFDSUwfoexE2poL26zhvaO4oqaopt01vGdcNyMiVgqLdMnX8THOvs69op6SnDJCikn0yZvgkHZPtNHc7iQnJsv/AXvPTX1ldJqdPPFcKDuwxg61dBVtl4qjpNmYkXzFRTBZggBapaVXoGPACjSOKLHaL4F98rw/k+3SyyeEBoUg+kO8D+T55SBusDUqCCYGDcAKIzs2LkowsZ+XUbooqSvFZ5yQYaE7Y9wc5WJzUydLFB2T0mFzJGXjoEuWurGUgNifEjz3gv4sORTUg/AI33PtLFpKHFlWEEzx5C1BXabj7m9Y3yLbNDaqcx5tinpLqNsHlnTDZt5ulry02ieD9NsrKO5hz9P59wLv3w7v0+OV+bxDMGCD/r39+Sv77R7/QQU7HgxCnmGiRN96aIzd+/NJuA/lhYe0yZ9FLUlZZbGEA19l8aOzwKQbKL17ztiTFJ0lJRbGkJWcY4F6vymGzRnCgtECiI6NtrwB8ImI1nzdgmFxw5pXy3Bt/lRQNn1+0y+IjteTENLPuX7Z+niqT4ebHEb+JKHkZqixW11ZIU0uThSO+Xfu2yKgh401JXLt5mUweM01ysoYc0i68QP6vfvUr+exnP9vxJEC4icHCHmALNzkA91jfA+YDFGCdjj95LMEB8QEQlJfbu90FHk4E0T+C88I9jmBe5A0LmAIRhnP3y3NvGO+1T6FDsM1gvt2qvBMrStzK4M4MFzJYT1ko/YNlFZOpuMKBaCJMDO/c3mSb1I4cw+Ru4Bl8mI1e8QdPWs4Ky/FriHYTaIfttgqNSWr2SBk6IsbyEHDBE8ind8LAkeP5XuIe8hL/+sM0HkfsDRMTG2Z++iGXdjB573vPy1RGVZS3mosdyPvMyRxvHpmkZmUb8nXcBFyT9P0+wveEIpDv+BP7ubBaqLN6DVXiu/BTj897L7/mG738152zEooVYazAcuRtq7g70/HKIXXMMzak1bGJ7TviwpMe91h1xeot7nHwHP2A9909JrTZZJdJB1ZMEeZYycXriHx0Jz4fyO95csUIP33x2Uq55fY02bKx0Vx9zro4yUB63DmiLmJcM4W9uVTfZ5VvrPL+4gMtwopeVvwmJUVIanqkVFS0SKTySoB/9sPKyY2W7Vtw/ddq9+D9iBFW8MbEhMuzT5bL5NPi5N23amTAwEgzCgL0v+b6FJnzapW2D5GbP5Fhm42/+Gy5FBU2294nWPAmJbXpO42yc1uMXHdDmrkDfewvZTL9zHhpVJnDXl9MPpB3XIbX1ai+qWMU9uiqrW21lcK33J5uK4L9JuVTqBD8s1MgX/tVZXWFzF/xuhlKsQntaeNnytxFL9i4K0IVrtaWZtlTuEOmjD1LDpQUyP7iPZKanCm52YONr5bpmK61rdVWXqckpkpWeq5s3LFKIsMj5ZzTL5WS8iLbm2x3wVYZNXiCbVhbWlEk+Qd2y+ghE2Tj9tXax6Nt09uhg0ZLeWWJFJcVypZda2XCyKn6LEbWblkm40acZiuwV29aLEMGjpAPnXuDJCUk2UqB7hAiBBHnA/k+nWwCIwlV8oF8H8j3yUPaYA8ZjAUTQEAgTMcNJQcOBN+HENYsK6+pqbSlo0cDFgSEXPeA78Pl4UjkBTc6ex9By3eEAtABMwbI/92v/yb//u2fqKJ0lIXRRykmKlzenjdX7p59/VEA+SJV2u7qGlh6mSL1DbUHNx6KjY4zYB0rC+7h7oA6Ztkyb9MHUAIDFheqcGpY0klJSJXquipTMKtrKsxND5slRUVGG0iP6xw2Ed65b4sMHzTWLDhGqWKIpQgxB1zsdPjgjYkz1zzEA+Cfmpx2SDv3Avlf//rX5brrrjOgHjczuHnBpQtgvvJpc92CX3l8zZ955pm2YSvuYLjvqLtgw4kiB4bAH7DqVDlj+eMey81VDhngwjPybnXSyMbZbBTdav70Cauyy8IDDAHW8AtQQnieQ+67+9L3+3QY0moDOGdlFau2AJ3pQDGx4fL6y1W2UToWkbfdnS5Vla1mSQkV5LfIkgU1BmywuguXYY/+pVTyBsfI3t2NZrWITAGMT8uIsJVWrCLDkAsLTMAdJm3r9TlgDZvN7tnZKGymTjpvvVYt4ybGyoZ1DWalyYbvbJY+Zlys5RVghZVkTDIkp0ZKZlaEgevIEPLGSi4mwtmnpaKi1SYi+M7MrEj5469L5KO36GBW88zKMo69e5pszxjyZmE13iHDoqSyvM2AqxGaB1w1cB93EsSljV77SZuMGBktu3c2S2NDm220ziQBZVap+cHSlLD41mfPmZGj8BVuRdinif4cikA+RN5DLc9HQ04e843sCwJoDiiBKzIOJpWRWw50JzxlouMOuf766w2ox50aE9BsVosc431kHPHhoow9XJioRq4h99gThTDs/YL7NCa02b+EuNj3BZn90ksvSV5enrlmY+PdK6+80ly4ufweCznZ5ai7stUH8nuH0OFZlbvgnRr5+J0ZZpizdHGt8b6y0jY5TeUFAPmid2tl1qWJxqvZc4uN0FlNi+vLaOX3B4paZPCwAG+Eb8Oj4eepqeHm9jNGeTBhWeGLC9CLL08xufKayqTxKhew8Gd/rrq6duPZrOJlBS/y5s57MyUjM0qefrxMSkuabXUvG5ZvWl8tmdkNUlKUKNffkmYgP5PPuYOizHAKXk5TYz8wJmtx3ZOVHWUTARgtsQH6bZ9kPx8myjoKxCef+jgZ7+/CtQ78dOuudRIfx14+YZKVniObdqyWtNQBqlvpuE3HYIyfWnSwx9iLhg/An6zjM+XE9pyNZltVRiQlpmrfjtV7FVJXX2sGVBXV5VJUus/Gfms2L5Gp42ZKakqG1NbV2OrsZh3vJcQnS7yOzzgYCx4o3a98O1bHKVE69iiXBh3HMXbLHTBYx3GJ9s6IQeOOSsbTrwnuA/k+nWxCVwpV8oF8H8j3yUPaYE2I9hQhhAHqGHBhtYXQApgHTOkOME54ls4S3slH94vSerSKK4IzcHxwgiCQt44LJQYHRwoTTMRNz3O+NL3f6PLdg8X7AYIZsyHnvffeJ1WVtVaffZe6k7dAOVJf+OPNL9j9ATczfHNnQD5EmVMVWOrarz7gGb9cY/3hrh1ZivqHX89tI+qOOAnv3nXh3DMu7L4+OHgviOwdDYTlhnuHcy8FgPzX5Z5vXW4brwIA8K0A1wAhAB4A9gAUABzB4FZP9+WeJOoT0F1ljYEw+LtXgWcgPPletWrVQTCGb0hNVWVcnwPKAMIA8M+bN8/cBMFX2DiXDWtxK4TFJsA+7+BKIdB2qgxEufDCCy1+n/o2wXu3b2uUf71QKXmDoqUgv0nbdphkD4yyDcYBsHGjAAi/4J1qe1ZR1qL13Sb1dW0G8AOoVFa2yQv/qJCP35Vuq7bYu4V+C/CP2wJcE9z3+QFmafnGK1U2acCqsrKSFtm0MbAxLJMHV16XYuDQiqV1AfdvO5rk/IuS5HV9597PZdp7D/3PAYuTfWTo+wDvo8bEytZNATCGTU7ZEP3TDwyQF5+tkKoKZVQaEHAGK/p9BtqHmzsG9mRhIgGgp7y8VQeKgfIYruFwG4Ff51XL6q0cAHLYB6ZS48NaE0Af93OUYUtzm9TUtJll6tDh0fLn35bI2PGxsnd3s0w7I7DBe1ZOpNzwsbRuyeOTTfTlUAXyTxWiXlgdtnz5ctu4fOLEiSa/0EvYWB13ZxAyCxdwyDJcvjExy14uTEBDAPXweQB84kTWzZ8/32QEwDyr0eDnpOUmceHtgOSEv/XWW+0ZG44TD+GRIUwC3HjjjccFlhA/bdERMqo7csUH8nuHYAW4qsEFDZOqW5Tn7treJCPHRNv4gcnOnNwo4/ETJsXaxCz+9HGBST3iqpOJWSZE4a3wwsbGdm2DYpOuTALgQmf1ijrzRZ81IFLi48MP8vt33qyWnSoT4M+jRkdbnMSDrGIfsRaNLy4+0iYLXnu5Ui66LFE2rIV/x0rJgQZZvrRUdcIEuff+AVJcjALbbquDF82vNYAeV0C4BGUCIV7lCLKJ/VCmnRlv/H/M+BiTG31U3fPJpw8QfaQrIB+yTWY7zjsbR9kYKnAaIC7cTceaO85htcau9dfGXHrOCsya2jopKN4tQweOUtlwqLcAIw1LFBDvc1hces2WcvX1NZIYz2RDIN6jZem8x3f5QL5PJ5vAFkKV+guQTw3AW7xk16pE229tbW1YXV1dmOYlTDMYlpSUZL8c3NPE7FczcvA+h36QfmuAZs+e/QBx+dS/SRttx1nnhOBxQo1Wxg+gAWCKe5VrHmizUWW4WZVpVYYTk2Tv7ibbGAoXBfh+xNOHuUYguCdei1uJcPPmVMvgodEGzJDGsvfqbAMqFGUsKEnT0lNy+XDnJnQ74uO6TJX9bVsaTWHHfz9gCfe5Xr2iXhXmqIOuEgBWeJ+ltC5ewiT+f/buA0CvozwX/+xqV703y5Yt995tXDHN9E4AQ6gpJIQ0CLk3uTch95/LzU1uGhAIhBgIzQSCTTPGBlxww7333qssy7ZkdW35z292R/70sSutpF3trvZ9VkdnvjlzZubMvPPOO8/MmZPzPak3Lw5xC6dckC7nnv18MdK9csu4rnmR9vJs9CNihgrqbqeddkr77bdPHhRflMssl9vE9hF5TJo0oSd/mzgm9IZ1njlrWiGtX/Oa15RBfZVTMrb4qcXp8guvT6847g2FtK8QpBzV3eO9AfV6IzaE7eMo1xvOfV3rdW7s19fRc3kjdyPasla//9H70o9/8a30jne8I33iE59Iv/u7v5v+6I/+KL3rXe8q5WCVIyIEaa08ss4u53qMRDDgEfjf/e53C9GDbEfy5P6nkDmIF/4mAJEvyBtvHxxyyCHp4osvLmGs7DQ5aHU+Ukdcnnfp0qXlo7cXXHBBicM2DvxMCtRVoYGRD3r19ptXp0W7Tyjb0CBPfHtk6rRxZRXixKxbkfq75evIFR8yt5rS6vW5O7UVomVcvmd51se33LQmh21L11+9umyFgyCZM6etfKDcVgq2TLNtwc9/sryQJWvWdKXVa7rTsue68uCuJb3uzTNy+2orKyttmWD/ZB+WPeSwiWX7N4T+E4+tL4S5FfdWdNqvWbxW/B9/0pT06EPry4cPrbJE2tsDGcF05Iu8XZLban5mRNPynCZy5sEH1pXVpCYQ7ri1Z9X/8mVdaZ/9J6S771hTtgRauaKzTDTMmDUu92kmOth5XemQwyeV60ikl71yepmkQG7Jn3wgpO64dXUhsYSXJxMOI1RdbAS6g77wzQ/uwMiDeqFzraSvK+H1T+wSejyPMYqfg872xpVvtthyyMp7b5aBe+jwPfbYoxD1eWBU9Ld71L+4TeIi6QEB4o0tEwTS8vFy8VndL07x6R/F59q29I+esVH+BhqXPkifpQwCgwfFj1ifN9/be93lbG98E6HcdC5bX9/x4pdOKzrcG1kLdh5f+hETovxmz8t9Qu5DTMzWe2115ptZtmCzFZqxCLvepCusWtXzQVx+L3vl1LJ9jjesps1oTbvuNiHNzP0WMn/GjLayxdueOY499xlfdK4V+g/evzrLxZr08lfOKSvtxSsPEya1Fr0tzTJxoN/KacjbXvtMTHvn+z2zj/uaJN4GcQ4EtjvoT9vf/PhHZ6UTD39DGt/Ss6UgUK3rOzrK2K6q2WxyFa7Bb2fiXq85G/c58JGuCd9Irjv3OsvZb/vZz5s1L9tzPTzCrxw9wQuar0naxHD9vTUoz5KPH53/n2n56iXpd37nd8tCrW3pmwKBrYG2Nlpx6qmnXpxP3VmnYH82nPPhvOHo9e/3dz1yWXTlNtidz04lnvo725AbnTvzAG7cuHHdSPz8uywizDZtN3uWnwkSNi5dAWxZsOiwGXSKoxHld6zID2wJyKzBTn9AOlx/9aoNKwEZxwhv+05ef83qtP9BE8qeuxed/3x6dmlHWpQNYHuTz5i1Kj3+8Ix03VWr0hEvmpxuuHZl+shH5xWj1Ieq7G9v1eDtt64uH69dtMf4dOyJU9O/f3ZJ2RLAa6teNz3m+MklbkSPj8tOzQbv4UdNLqtmrvzlirKqZn42zOXR67FveOuMsl/yFZd4Za47zc5Gtb2In3yiI/36B2cVA/+qy1ak++5elw2H7rLPvz3z7Rl8zo+XpUMOm5TjmJn9VhVCxYd93/W+WcVtIOD57VF54sumFqP86itWlNWatn745UUrysob5L/VkDdf17MH8q//xpxckhuv9B9MFAOps7PsNTuSQcFtDp6jGVazUYw9+rUnnv5W5I9m9LdHvueuz17Pow10zGWXXZbuvffeQm6QWWQONwJIHesQPV99A8FWC9/61reK26pc103onHDCCenv//7vC8njfveID7GDyDEBYEui3LeVMEgcHW5g5KIQ+besLvsVq88rLl1ZiBmEhtWWzojtE186tfzWryBYFuzSlu6/d20hUqy6tPL+zNOfSzNntaXDj55UyBB6eVEOu2s+TAK84tXTih6/8Nzn04GHTkyPPLguPf7Y+kLsWA150GEIk3GFyBef1ZFW8uujfGD9hJwHW/EsW9ZZyPedd2lP9+brs3KaZ33/ufQnf7FTeRvAqk99HGJHulSbPC9ZvL6srrSNj+1ybs79xeG5j7R1gg+t35b7K9s5PL2kM+fTXtBdZcW+SQgfVLzj9lxOs8blfmdtOull00o+9TfeJNi1962Do4+bkm6+YVV59j1yn3zoUZNKvCawjz9pas7z6FjNqV3HivyRD3VDxzvXPopbf1791CUIx+1wHcld/YSrcUGju15vPLufPVB/WwFv4ueggw4q91jl73qNY2shH+KvEJ80N4dYkT98UF36FWOYbUWtelVY44XmN3gb0Sgz1a7tkdl16Zlnl6b58xbk+4t3ILDDg+z3t0e+LVEvuuacdPTBLy7bm06alG2sNd4w7yofop0xbXaaPGlK0ee231mzdmXZslR8kydmO29Sz4dq587aKU2aOLnfNjnc6NEdsSI/MPwYCB8zUhFb6wSRH2hAFthNDnJ0iD/5wbKyZ/HsuePKXsBWuNvP16rGU943O1nR+J9fXVpI99tvXZtax61NK1asSkcctXN68N616YhjJpVJgLe+c2a6+oqVhfC3ouSWG1anfQ+ckNpzPFa5vOnXZqbvnvZMmj7Th0q70777T0gXnfd8WU2J1Pe66h/9t/nl3m9/bWl6+WumlVdnrbp8zRump7PPXJ4+8KHZhay4MN/3cL7HvpTTZ7SWD1G9/7fn5HjWpisuXVGI++uuXpmWPNVZVk4iTKwCfcVrpqfp01vT977zbNlf2apNTQ9JsmxZzwrQE0+amg45omdV2HnnLEtz57enw/LvL352SVk1aZW/j2nNmjWukD7IlaE22BlJBg47IpoHzTqgDUT+H+1gRP6VPUR+83ZCox3qz17/Vt3bdgFZb4W9LXBy/1OMWWf+iDsrL63ArCvxrapE2k+bNi23q1nl44hw1llnlTcVTAbMmzevyIYZcKQ/QgdsvcM/MLJBfWnHxYDxX23URj+97Z8etb99S6/5Q67ovp5+rCdoJVmg6I2GuHqIlJ4fPW9wbUwMQiVnajr1Gv9KDAnaG7xAH/TLi1eUrRNMGoD7xOOQFoijfGRXpnrjbURNo+fcc2/JX74mZI6x5Amxb2/lY45/4QOiUO8X0r7Q3oarH9OtkK+h7o8GC549iPzRgSKnBLYBm/Nrvt7XtcYz9Bce/HZUm7b5+taC7NX0IYj80Q1V6WjUg1Xf9lVNxiNglX4j+ooH6PjWouh7wlc7jgwh8pcseTrttNMCPsW/GbXvaZ6EqP0IDMYERSCwvUD2+yLybamzeOnidPHV56QZ02blsfj4NGXS1HTXA7emaVNnlHYAi3beO93z8G2F6H92+dNpr133Tw88dnfaY5f90vKVz5Z97RfutHt68ZEvTx2dfber4QZdQc8EkR8YbozmMfGOQuSzEAKBIQey3qpGr/d7zfPhB9eXvYAZrvZpnDjRFjId5XXVnhWB41NXZ3tqb5uc9tizPfl4lFWHzkxTKxFtifD4I0j29rQku2+7ZXVZyW/1o47OFjorlnWmO2/t+fChD5LO26ktzcxuK/mFYVi7zs9HrG650cesWsreltddvap84E++kfrIdx8uRLbY3uC5Z7vSHbf3TEZY2WiVpBWMtlbQyepTVzzflW67aU3y4StvAcyZNy4d/+IpaXp2j8/PfM9da0r5WDV5y42r0ne/9Uw6+LCJZSUoIv/lr+rZfmF7jd2y4inGwEg+BoK+7vNsfaEMlibsWEfLDvoGPiN+//33L3smW2GPzN9rr73Kinkr7xF1fiPjjz322PJbvVuB76OGjF2EvP2UGSC2TuDng8B19T6y332Ifqvwrcp0BIk/OqBP8aq0s4/WlnNx9xDPjhIuX0NiOPjVM1AV9Vr1b4yLX0W93nh2VHVT06nXatzAXeN06JROevm0QuLXePjXuKpfuU9+eq9X/8brL5x74vZb+J5zz2/b47zouJ5tehqPer9799l/YnljrTlMyW8gMIig3yvZTd86/HbU383+9aio12o48LvGyRbw1mG97mi8H/QZjQtT+rMdAqMbCO2+DiAS9egrjMPHaH3cttHPYh/fW8nitpE/O/MnP3wuXXPFyhwnOX/hum+g2Aquplv9ffjWGKICMc/f/Xfctrq84WuP/xoeGtN94tH16dE8Ruq554VrFjR5i9kHd2tY1wKB0QoqesqkaWm/PQ5Oe+y6X1owd9f07LKlaa/d9k+zps8tv+fMnJ/mz945zZu1U5o/d5e0z24HpVVrVqapk6enCeMnpJ3mLEyH7ndM6SOWlTd+eyMPBAKBEQpqqllVld+xIj+wJWge+DRDh8jAXbe2K82Y1Zbuv2dNsoc8sh1BXkj3bLCuW9ud2tpz2Gyc/vzspemYE7vS4UcuTA/ct7ZMANQP/CHSTQrYbsDc1NVX2P9+XXrX+2ennRa0FZLf3sgP3Lu2GL3zd24rxnV7uwFdT6c/d964shWCrQv23ndiuvaqVWWlva0N3vaumWWrnsceXVeIeitoEPFP5vCL9hxfDF8rFZ13XthWjHD5t4fl4ifWp7k5r94IePD+dWn58s608875oXK6jz+yvuyHzG0v83XrU8mvbYYY5PK8+17jyzYNz+Q4Pas3DyZNbi3bPsR40kBk84QqQ2xzEM/NN9+U/uVTX0r/+DdfKBNAO8KAXbv62Xk/S+/9rdfvcCvyhwqInE3pr0AA6Hskdn/Qtzg2JUqbC+OaPitro0K4B7YdSNxYkT+yoY7yGCI99thjZSLWG1S2wrMK3Qdp83iiuIXzVpX+2573+mxhvXkF7rf/vY/mmoC1730eo5RrPmKLxDcBbK99b1x5K0v/6APoQ90H1AmFCukNxOaIFfmDD2rgvnvWpbvvXF2+D0LXGlP4nsoxJ0wu+9dbVOTj4t5IevShdWWhETLdW7rc9q5f8Xxn2Wbt9lvWlG07f/LDZSU+i3Bshbb4yY4sg21pQbb7fdx2j70npGNPmFImAG68blVZBOSjusYNH/zdOeXj6zffuKaMC669amUeH7Wngw+bVLZee/ShtallXHc+d6Trrnk2p9eZjj5ml0LM+3bYkcdMSqtWdOV4V5cxw9Il9gtPaYHxRz6Lw3jHNqG2Wtsv59ee+rZ2sz2o/i0QGMmgP/v/2G136sw6ta6+X9+xLo3LDXZ95/o0cfykfN/aNGH8xLLdTnv7hHx9bVryzJNlAmDK5KlllT712tnVUe5r1dhHIHQh2nWsyA8MNwbCx4xUxMdu88EvJxYfuw0UZKHtdfUN+wZPn9GWB2QMy54PP02d3vPhWLciy61+nzhpXB5gdae5WW4X7NKVpk+fVkhsH4q1n7ywVvjvvMv45GOCyP/6AUAf8QMffmKUWtXuXiv+7Q0sfh96mpTPVm3OyPeLx3Y4Pu4nT8dkI9vbAsIuyNfseSyf43MY29/UTpQhb89l+9cLY2sd+ZJHq/rl04evGNHi8vw7LxxfJi0cDG0r/4VzPyPbSnwDCr/dp2y4S343XbxjBlml9Lr6x+ZkEcTjQ3hXXXldes1r3pi6abwcdUvWiqP5aM+yd9/996bv//A/0+tf//p03HHHDag8xjKifHYs0P3I8B5d3eMulk2u5nqt+Xrj4aO01d0oGvaN9wFCKsg1aIxv1cruMjlM75c3fXr9Gw8Ttr6PIozfG8fR85aYCWXhhAlsOwz+bZEVH7sduTAgvOOOO9Kll15atjUz8XLVVVelRx55pHwTxcfIn3766ULQI7Yff/zxEt51HwBDdPto7dlnn10mAHzfxASAj8T6cK37fUzXR8/Jgo+j+yi6+6W97777Dnk/QPYa5W+g6Zm4iI/dDh7oZh8IP+fMZeU7IpdfsjI9cP/a8nFaC3oQ7ffdvTbdctPqssjmhmtXlw98I8x9S4Xtf9vNa8qio9lz2tMlFz6fr3eXhT7guyrGGz/50bKyGOeSX6zIdvy49NgjHenhB9eWrcyeeLyHUPf9rHF53OCNXh+j9V2UW25YlRYuak9Ll3TmMUdbeuQh2wWOSxddsDw9vaSjjDWWPLU+rV0zLj1wX2ch7K3OP+7EqeW7Xxf87PnytpXJh+tz3o84enL5/pdFRLZuM19lUZNJBturPfLw+vIWtO+thCkUGMmgP/v72C0jb1w2ooRpzQd9Sbe354aK3K/6c3z7+BKuvS3L/LTZacqkKflaTxj3uaelbGk1MqELccTHbgPDjYHwMSMVO8rHbkdvDQRGHRiPVjMSb2cH0rr2Pc7CeP1/l4Xj0/4HTiy/a/h6fw1b45i3oC2d9LKpG+3h23hfvbfxQOJDvQ5HHDU5G/BTyyRAzcuG+3vzWcM2x13d1d8ZGsPUcNVdjxrOvsTO9bdjQ3y94QJDBMW+Ix2BwBhFtn/KB28vPHd5eQvsqstWpp//ZFnZJg1ZjiT3+/prelZLnvfT5YVcsbUZf29/Pf7ouvTTHy8rH4Cl+9mq3ug650fL0tk/ei499mhH2RbNakxnhIyPr999x+ry0XMHUsc3VnxUF/njo7irVnaWbd3Wr+8qqzV9RNZ3Y668bEW64OfLyyTAyhVd6dorV5W3vCrRHwiMBVhJb/X8xRdfXAh2h1X6tjubO3du+fC463vvvXfxQ8o/8MADFhxlO6mzXEfi+CaK8AZBCHyEvTDI/jyQKoQ+P8S/LdSmT59eVvK7FtjxQav6KLgtM9et7VlktHa17TI7ymIeE6sWAF1z+cp06OGTiv1t8ZFtxpDuBx06KctWjiXbWhMnt5TvK3kzd+/98hgke3ur1/e6fOtKGt6SvCbr9PXrunrfrO3O/cXz5ff0aePKhzpnzMgdV45wxqxxafLU1nTHLT3bbrrXm8hXX7GipGnRrW1Gp0xpT5MnT8hxdJcFUkcdO7n0ffK+66L2dGPuu57P6ftWlzehbT96601rUsf6nnGHN1CdTRbbOm3+zr7BFcZjYHSjjr3LUCj/t+Ho/Q2N/kTesSFM7/VAIBAYDWA5NI8Uy+9YkR/YUvRMQG0aZpEr+nIzQkFUa9asTx2da9PUqdOKn2s1iRI+HwgWAzcfz3WpMU7wux7NaPR3tuLm8cfWFaO+kUCp4RrDbs5dMZBwnstvBroV/YFNI6uUXlf/GIgsiqesyL/iuvTqV76xDGp2BJChe++LFfmBsQe69O4716bzf2aFZFe65841adlzyJRU+ggrDn143GrFyy9dUb5V8uD9a/M96zZsl4D4f/LxjkKGIN9POnla1s8t5Vsljz++vrxJZTXm88u6yptc1121Kt1719ryHRTbFVxz5crkA+U337i6bJPgmlWSO+c0F+0+MV9fkf3WZb916dFH1pdJAVr/0YfXF5JovwMmlu3V7JMfzXZwoP5iRf7Ihnpx6JcPO+ywQrAj7Pfbb7+yPY7tdpx9t8Qxc+bMslWSb6YIa0W9FZd5/JEOOOCADffo+3wXxWFlex7blDiFd5/vrfh4OohzIPbF1qI+Y8VA++VYkT+4UOzFzs8jYCT88SdNScuzPn/g3nVptz3Gl602vVXrjdtDj5xcVsV783f/AyeUt2r1I/VtW1tv7pp1tTGDLXW8oYuMX5H7AqvtFyxoTye9fGoO15qm5bCH5fjKm8ntqbx9fOiRk8p3vuh+kwj6q/bxremEnKfyXa257b3bj45Lx714cnlbOEtS2v+g9jRn/tp06OHTy1tcBxw8qfRnJpy90Xz8iVPys0xIL37ZlLRmbUq75DT0VwceMjH3bePLcVhOe/Wq7vLWwPycz+hvAiMd9OeGFfmHNa/IHxsoGiD/FyvyA8ONobSXhho7yor8HotgY5TfsUd+YEtAZg2gNgVGM2PYdjFgpQrSkR6wNQ4S5torV6b9DpyYhXZcuvKypenJJ5elN7x5j7LtzkUXPJ9e9brphXDVRKw+8Xrq/fesLVvXMJDlo04G6OisOpFGRzbWhW+EeISRPiP81ptXp0tyGr/9+3M35NH1Gs5qFca2FZr8chsr5Dv/8dnwrqvoGctUgVbckZ/LR20NFuRZvHXSoaaLbPIRXASUj2cdftTk/LstN0ShrMBxDlRQcJuD1Xmbg3jskf/ZT38p/ePf7WB75J/7s/SeD8Ye+YGxBbpfP3HXbWsKWY9YP+CgCWWlu37F21bnnv18ITOuvmxl+caK1Y3d3S1p193aS5hfXvR8mjipNd83sZDxv/7B2WU7tqsuX1H6L/DtE9u1aVb2OPYWto+mW21p9f2LTphSyPt5O7UX4v/pp9anU947q2yR9qMzniurI/UpC/L11Wu60047+27M2kLqeLNsxkz9SUkqMAgw+I898kc+1FNf9dPYLwtTf3NXVPuz8X7hGsP0hRrGeXM27LZC3prz3Phs/SH2yB8a1LHCypXe3FpVdPphR00q+h7Y5+zvGq7KCpu/LvapfpBH7WVrDli6ZH1aurSzTMyy+G3bAT1y9kLaUGq0yf+FeOvBr3OD37p1a9LTTy9NO++8IPt5i7jnfuLfKGP8odGvojHvMc4IjAaQV29lfei3fzf9z9//XJo+cVZpX2MJykA7f/8fvi499OQdsUd+YNgwED5mpCL2yM8Hv1iRH6jIQtvr+lXodLzWefEFK8orp3fctrYQF/vsP6F8JMq2BF5ttQfxqlXdaflznenpJWvSow91ZeN6fFkJaRUjIsWKFasg775jbVqxvGe/YXvd33v32nTNFavSkqc60p57TyhbJ9ib0kdpbXVgqwL32mJBWB+Esg/moj3y4Cj/3Xjtaj1k2mMvH9PtSjdfvzp1ZsP45htWp3vvXJNuyr/h8otXFj8G9+WXrCj+9ra/6pcr0w05zoW79uy5f+G5K9JtN68ukwxXXb6yhLM3vj0q5c2e+1bgfOULT+f0egz4h+5fl/Y/aGLq7OhOt+R7ET5WiQZeQFYpva7+sSlZrBBPXyvyGUkTxreWCaDq1xeyiuszHYOqnns3n4ehgLRjRX5gLELb9U2R55f1fO9EP7BgoY+Tp6zXxyf7Apv8te0APSusVYwHHdqzShGBYwuFlbmPoq99E8WHx/fN/ZQtCazMpNv3O3BCWvp0V5lgPvCQSaUPsj2B9E54ydRCwutX9HUH5evysnC38Wl5zpe+42UnT0urc39n9adt5G7LfaBtgPyWV/1ZNNnBA7mIFfmjA/qqrTkq+ro20GOoQfYa5W+gacaK/KGB4ndYYGNVun3quWu1NJ4bj778in+D2wSu76kgyBvDOPq9vw//RplhU9Zw69d35v4ljymmWInb//0DPQKB0QBtoTMbWD8+86x08qtel6bOm5japnSntql57DNGjnbHtJb0vR99K9s1T8eK/MCwYSB8zEhF7JEfCAwQbFDk/Fk/eC7/SOmeO9emu29fUz4qa1WL1ZJl/+JxqewN/MC9a9O0meOyf3d6+KGWst8xotzqyKcWd5T7Fz+xvpAntiNY35HSjdetKvtIIlN8IKqudF+4a3vZYsGrqbYxuDOni6Cx9/FzOU3xLVveWV6rtSLbKspnl/Zsn4BwufLSlYXsv7dMMHSlyy9eVcgcz2QLBa/XWo1/9o969la2v7G8WXVvL2bhbrhmVZm0sM2CrRoQ88xybyEwzA0e5szt2eJh4qSWNCM/u5U911+1Kl1x6YryqmyvHR8YYjASV65ckc694OfpJ+f8OCvX1WnSRB9kbi313Nb2wnnx4ifLPX67Ds6rV69Md9x5+wv3jOs5OwKBwNCBPrUn8OvfMiMdf9LUdMDBE9PceT3bGZhQZVqNa0tp/+z/4pdNTSe/Zlp63ZtnlLeg9B3I/EV79WyTsO8BE9OxJ05Jx+UDkPS7LGxPBxw0KYebkN70azPSG39tZvF/w1tnpBNfOrXsnbzLbuPLxwx9fP3N+TqCSPo6v6VPd5TtF+yl/Oa3zywfIdTvWQn6itdMLR9ZNOHgOQKBQCAw9NAvdOc/erd58Qbbu7Vh9XxfsAincYU9iDNWuQcCQwxNbKwegUBgzCOYpcB2AQPZnpRWPNpPcvbccWUbAivfvaFqUu+2m9akw46aXLYpeOSBtWnatPZ0+FE9H49C7h//4inl44IMZHtL2kN4yrTWQswgx1c835VuvmFVmr9Tz8ekOjrtCzk+zZ3blqZOG1e2Snj4wXVpt0Xj04Jd2tPkKT3bKeyc773ylyvKRICPSe2Ur02YYIasu0wA7LPfhELsz5vfXvJtckA4K58X7d6ejfzuNC+nOSWnMWdOW9pznwllksBqTunZQgiJtGjP8WW7h4fzsz32yPpyDzIf6W+lpjDjc7q33rSqrMRfsEtbWd1ZCajA0EOdPvLoQ+lL//Ev6bHHH0nX33hV+odP/2069/yfpq+f9pV0/gU/TV/+j39LF11yfvrEX380n89N3zn9tPSzc88uK2mvufbK9E+f+d/pP//rK+kXF52Xz99Id9x1e/ryV/8tffu/vpnbgUmZTQ8KA4HA1qMSKPVAzPS4U+4HWtOb3jazHNyN4eqBVH/jW2eUg36np2ucNS4fZG+8p/Ho75o+0NteRx0zZSN/q/vf/YHZ6cgXVf/eBwkEAoHAkKES8EyyxY+vL4t5qp8JVmdvxz7+yLoNvx2NcK83by268QHdMO8CgZEBYy2LrrYdQ9moQ2EEAoGtRzZNfkWLlN+xtU5gS9HzJknfQFDvvseEQkofePDE7B5fyHErH21VYKXji46fUvYzthLSR55237Ml7bpoXTrsyNmFUHfdx6VcR8Lbz1icVjD6eNSSxevLnshHHjO5rJRHwFg9v8uu4wvR/+wzHem5Z7rSa984vWzpQ9StoLQf8k4LerZYOPzoyWWCwaMg5Pfez3YJ45N9x/faN//Ox6w549LOu7SX67PntuW4x6dDD59UPnYoXm8PIPqhrMzMcbrfNSWExPf67tHHTilb7dh2weTDPvvVchlXCP/9D5pUJhw2tb3LWERWKb2u/rEpWawQT/PWOuRxydNPpYsvPS/tt8+B6Qc/+nZ64MH70m133JSWPvNU2nuv/dNZ53wvtbZYeb8qecXzwot/lh597OF0zNEvTl/8yqfTgp0WpmefXZqeWvJkuuLKS9IFF/007bZw93TF1ZekV538xlz3Q7tVUmytEwj0D01hc82hhhlI2C1Fc3xDlU7gBRjQx9Y6geEG2WuUv4H2y7G1zuCiVsF116xKN127unwn5bunPVfGF97Y9XasrdRsg+kj5z/50bKyAOjyS1amJ/Pv3ffsed1dPBbj+GbKqhVd5U2rwd5poFFmqrz4zfZcvXp12VKjUaYCgR0ZVfZtrfOyk16fx9aTeq/0wJanwhjLLV++PN3/wH1pzpx5xR9cq27jOG/b9Pj1bIfaeN02qeJZv35dPo/b4D8uN3LhtMeankPYCuNLfjmWEnePe+P8deVBZ2cnPqC9/Na8Xe9x99831PTO+MG30nPLYmudwPBhIHzMSEVsrRMIbAG6cwe588K2dPChkwp5jWAn5g4r1Q84eFL5EKFtZWbPGVcI+rnzWtPESV0b9jq2H/HOC9vLBwoPPWJy2Y7GR2Ln79SefCxwv4Mmpje9bUbZygApi2z3BoD4Zs1uLWT+2399ZpowuaWQ97Y18KFCnff0GfZJnlRWTNZ8Iden5rz6wK3tEBbkNKSJsDdJgPzndp4wsSUdfNikkqb42se3FHLfqnruQ46YVPJpoHBodr/tXbNKOcinvZRt6TAvl4l4d8nlVFf9BIm/faHeDZZPevHJ6Tc/+JG0++57p+nTpqejjjg2HXzgEWmfvQ8oRuG6bNjtssuuxYicO3dB2n3RXsWQ2jOHf/yJR9LUfM8zzy5NO+20SzrskCPTU0sWF+Kf8RUIBAKBQCAQGB54E/aGq1flAXRXahvfY9NbMLRsWWe68frV5ftXs/JYwwfKDztyUjr/Z8vLm7a33rw6rV3blW10hJqtFVvKlmiveM20hNNgQwYCge0LBPiSJU+m//dPf5UefPj+9JWv/Wt6/PFH0nm/+EnZLvXpp59Oq9eszu2zK91y203ptG9/Ka1YuTw9vfTp9NjjD6cfnPndcs2HdJc8/WS64car05ln/Vd6/vnn8vn0fP9TafFTT6T1HevL2O7ZZ58paT799JISv+OJJx8v9/NfvnxZeu65Z7KuWJ2eXPxEWrVqZR7Pd6Qrr/5l+uZ/npqeX/5MTuOq9IuLfpZ1ztMlHgS+LVvlqYcHDAQCgU2jZ7pwY5Tfp5xySjk/9dRTLUuWLGnNyqll/fr1LTvvvHM5O9auXds6depU11onTpzYmv1aOzo6ytHe3j6ura1tHFxzzTX3iSuw40KnY3Z5sIDwXLVqVe7glqUsc5vt1BjUdTbc9gR9oU4cDic5Lg+erae8ej0DWwQzlZuDFRubg3huvvmm9NlPfyn94999obxWTcw6OtaV2dFp06YXQ4yBhpBftXplmjplWjbWHk1zZs9LnV2dJZ2sB8us6ayZM9Pq1WvS0meeLuS/OLzW+fgTjxfDbe6c+em/f/x/5TSaVe7gwtsfPzv3Z+k9H3x9+uxnP5s++tGPDqg8AoFAYEeEPvfBBx9Mu+22W+6DY/1KYHhA9hon89nMAyFsnnjiiTRnzpw0YYKFJkHwbCtUge0sr/jlynTvnWvTQYdNTE8+3vNtLN/Lcm36jNb0a++eVT6Mjrj30XMfIZ8+s2ebTN88Eo/xxp57TciR5oiHoGoaZabacX6zO5cuXZoWLFiwkUwFAjsyyDqy/EO//bvp//ufn00zZ84qOtFY66GHH0y/85FT0jEvenEef61ORx95fLr2+ivSrgsX5XHbY+njH/2rdMml56frbriijM8WLNglj/GeTXPnzk+33Hp9+o9/Pz19/bRT0wMP3VcWZV12xUXpJS9+ZW53HWUc+NgTj6SFO4vr0fT2t703pz07nfrlT5fxYXfW5c/ksd9RRx2f3vyGt6d/+sz/SWvXrU177LZXuu/+u9LceTtl/T0xPfrog+U56P599j4wh1ldJgAmZt2+68Ld0+M5n6tXrUj/6y/+sYxB++JVlAG+413ve13O6x3pyiuvKnogxnmB7Y2B8DEjFUcdddQns+7ozH1sR+M5X3IuB3evf3E7+13d+by+hs1l0ZHba2dbW1tuitkyyH7Ofnd0dDh3rV+/vpyzDutsb2/vyjZdV/7d/dxzz3VPmjSpa/Hixd0TJ07sGj9+vN/dU6dOLVbF/Pnzy/mMM85w3sjSiBFNYIeAsU3P/sIbyfdG0B/20SduV0hfHoc7H4H+0J3a28en6dNnFONw1qw5adGi3csq/RnTZxYDatFuu6eJEycXUp/fTvN3SjNnzCr1ylDbdeFu2QCbkRXvTmn27HnpgP0PSX/9iX9Of/qx/5XjjwFXIBAIBAKBwHABae+N25ecPDUd/+Kp6cCDJ5VtP22l+bo3TU8nvWJa+a7XQYdMLG/T+ii6bTVtldma7cBiyeXhBleZW+l/6BEIBLYDOjo60lFHHp/GtY5L9z94b7r/gbvLKv1rrrs8HbDfwWm3XRemO+6+tbxB3dHZka697opCfk/P4zUk+qRJ4/NYrz09+eRj6cGH7kt33X1bWrni+fTsc8+mSy+7oJDqSPz28ePT8ce+JN17753pycWPp5WrVpQtWV909InlvsVPLU733ndn1gld6YGH7k1HHHFseuaZpemmm69Ne+21f1qzdm2aOGFSOuTgw3Mcd+Xx48ycp73L6vydd9olLVv2XFn5HwgEAptD7JEfGDQgPgcLCNP169eXVSdZ5np9A4GeFUqbw0BkUTzNe+RX1PudbZVU3dDz2+r9jY+KZn+ybK+z7YXYIz8QCAReAB0ce+QHhhtkr1H+Btovxx75gw8rWm2l6TtUitW3tObNby9+c+a1le9sqR5bYO68y/g0bca4sm2n73zNndeeZs1uK0cNN1RolJkqL34jIGOP/MBYQ5X9vvbI785juClTJqc3vf4dZQvUmTPnpD123zsdefix6cADDk0LFy5MM6fPTY8+9lA6/riXppNOODlNmjwlveZVby7b7uy6cO/8u2eizmr+1776LVlPjEvX33hV+q0P/mGaNGlyetlLXp0WLdwj7b77nmnBTrvIUDr80KNK/HvusU958/qIw45MEyZMSjsv2LW8HbBo193TbrvukQ475Kj07LNPp6OPOr5MLOy1535lEdh++x6c87lX2iPff/0NV5Wte37tLb/e77ix6oTYIz8w3BgIHzNSsaPska/3b7YAyu/YWiewJSCzWUB7f207dFJbsrVOYOyAgtscGHqbg3h+dWud0S9nsbVOIBAIvAD2RGytExhukD2yWMFmHojNEVvrjF00yky14/yOrXUCYxFkva+tdeq1no/WptSWh4mNmpJfZ6dvW7TmA2eRPR256WhW/IwBTfDlID2X8rVly1eWlfTHHXNS1r/jUpcmmP07OrpK29wQV4aze8TT3t77pk6Dfz38dshTvZ//4qeWpEt+eX5auPOu6bhjX9Ivp+I5Y2udwEjAQPiYkYrYWicQCAR2AOiI8vg4Hy35aN0BjpSNyJ5Z3EAgEAgEAoFAIBDYUdHd3V0IdgT4uvVdaX3DgcQH53Xrev1zWGfhnd1frvfeI9zkSZPTS178skLa+92Rr0sD6n1+O9zbc627T/8aZ73WeL/z3Dnz0ilvf0868YT+SfxAIBBoREvv0YjyO1bkB7YEOsDB7HjMOMeK/EBfQLxvDp0DXJF/y623pN//8EfTO3/tA2XPxB0B7e1t6dbbbkpf+drnYkV+IBAY82BPxIr8wHCD7JHFCjbzQGzbWJE/dtEoM9WO8ztW5AfGIsh6fyvyxwqUQazID4wEDISPGanYUVbk6/2bLYDyO4j8wJYgC2wQ+YHtgoF0HFl39rr6R5Wx//t//yb9wz/+Y5NqHP1QToj8P/zDPwwDLxAIjFnQ9UHkB4YbZI8sVgSRH9gcGmWm2nF+B5EfGIsg6y8Q+Z9Ls2aNVSI/pVPeG0R+YHgxED5mpCKI/CDyAw3IAhtEfmC7YCAdR9adva5NQ1zPPPNMuuSSS1LWXxsNiLh9INHgOSvUUSeDyiB3VGnvvfeO9hMIBMYs6PIg8gPDDbLXaGMEkR/YHBplptq1fgeRHxiLIOuI/N/6zQ+lT37i871Efu/FMQLNnRnzzvcEkR8YXgyEjxmpCCI/iPxAA7LABpEf2C4YSMeRdWeva/NoHCg149lnn01ZtxUif7RiS8oiEAgEdjTQ70HkB4YbzbZGEPmBzaFRZqot53cQ+YGxCLKuHbz//R9IS5c8X9rHmFOJublr8Vdd88vcL8xMl19+RRD5gWHBQPiYkYog8oPIDzQgC2wQ+YHtgoF0HFl39rq2HmQw679C5E+fPj1kMBAIBEYh6PIg8gPDDbLXSLoGkR/YHBplptq1fgeRHxir0CZuvvnm9OHf+3Dp18eq9Le1tad99903ffe730X0BZEf2O4YCB8zUhFEfhD5gQZkgQ0iP7BdMJCOI+vOXtfWgwwGkR8IBAKjG3R5EPmB4QbZayRdg8gPbA6NMlPtWr+DyA+MZRgH4gfWN22JOpagL1AO06ZNCx0QGBYMhI8ZqQgiP4j8QAOywAaRH9guGEjHkXVnr2vrQQaDyA8EAoHRDbo8iPzAcIPsNRIuQeQHNodGmal2rd9B5AfGOqIv78Fgci+BwJZgIHzMSMWOQuSHFgwEAoFAIBAIBAKBQCAQCIxoILDjCBI/EBjLCCI/EAgEAoFAIBAIBAKBQCAQCAQCgRGMIPIDgUAgEAgEAoFAIBAIBAKBQCAQGMEIIj8QCAQCgUAgEAgEAoFAIBAIBAKBEYwg8gOBQCAQCAQCgUAgEAgEAoFAIBAYwQgiPxAIBAKBQCAQCAQCgUAgEAgEAoERjJbeoxHl9ymnnFLOTz31VMuSJUta161b17J+/fqWnXfeuZwda9eubZ06daprrRMnTmzNfq0dHR3laG9vH9fW1jYOrrnmmvvEFdix0d3d3evadrS0tKRVq1alZcuWpSxzgxp3YHSDbGwOgyEv0sn6L2XdlqZPnx4yGAgEAqMQdPkDDzyQFi1alFpbY/1KYHjQl+0yELviiSeeSHPmzEkTJkwIO2SMoVFmat3zy+Pv9PTTT5fxUV9yFQgEAoHAUGI09z1HHXXUJ3Of2pnHBB2N53zJuRzcvf7F7ex3defz+hp23LhxHV1dXZ1tbW2dwM/Z746ODueu9evXl/O6des629vbu7JN15V/dz/33HPdkyZN6lq8eHH3xIkTu8aPH+9399SpU0unP3/+/HI+44wznDcyAtVAcy2U30HkB4Ybq1evTlm4i6EaCAwHEPlZmaZp06b1+gQCgUBgtAGRv/vuuweRHxh1ePzxxzcQ+YEAVCJ/l112CSI/EAgEAoEtwI5C5MeIJhAIBAKBQCAQCAQCgUAgEAgEAoERjCDyA4FAIBAIBAKBQCAQCAQCgUAgEBjBCCI/EAgEAoFAIBAIBAKBQCAQCAQCgRGMIPIDgUAgEAgEAoFAIBAIBAKBQCAQGMEIIj8QCAQCgUAgEAgEAoFAIBAIBAKBEYwg8gOBQCAQCAQCgUAgEAgEAoFAIBAYwQgiPxAIBAKBQCAQCAQCgUAgEAgEAoERjCDyA4FAIBAIBAKBQCAQCAQCgUAgEBjBCCI/EAgEAoFAIBAIBAKBQCAQCAQCgRGMIPIDgUAgEAgEAoFAIBAIBAKBQCAQGMEIIj8QCAQCgUAgEAgEAoFAIBAIBAKBEYyW3qMR5fcpp5xSzk899VTLkiVLWtetW9eyfv36lp133rmcHWvXrm2dOnWqa60TJ05szX6tHR0d5Whvbx/X1tY2Dq655pr7xBXYcdHd3Z1yvff+2na0tLSk1atXp2XLlqUFCxaU+AMBcpFVSjn3B7LS2dm5zTIjjaz7UtZtadq0aSGDgUAgMApBlz/00ENp1113Ta2tsX4lMDzIY6KNbBd2SldXV++v/vHkk0+m2bNnpwkTJoQdMsbA3qWzGu1aMpTH32np0qVlfLQpezgQCAQCgaFAs00zmnDUUUd9Mvennbl/7Wg850vO5eDu9S9uZ7+rO5/X17C5r+7I9lxnLpPcVXd28nP2u6Ojw7lr/fr15bxu3brO9vb2rmzTdeXf3c8991z3pEmTuhYvXtw9ceLErvHjx/vdPXXq1GLwzZ8/v5zPOOMM542MQKXfXAPldxD5gS1BltVCvA8WKAbxPf/88wQ4Bi+BAnKRldsmyRiyQnYGMkDeFKT19NNPFyI/67mQwUAgEBiFoMsfffTRlO3XIPIDwwa2C2K2Ahmbx029v/pHHoelWbNmpTy4CztkjIH9mcfSG9m19BnZyYP/NG/evPI7EAgEAoHtBf2O/qnRphlN2FGI/BjRBAKBQCAQCAQCgUAgEAgEAoFAIDCCEUR+IBAIBAKBQCAQCAQCgUAgEAgEAiMYQeQHAoFAIBAIBAKBQCAQCAQCgUAgMIIRRH4gEAgEAoFAIBAIBAKBQCAQCAQCIxhB5AcCgUAgEAgEAoFAIBAIBAKBQCAwghFEfiAQCAQCgUAgEAgEAoFAIBAIBAIjGEHkBwKBQCAQCAQCgUAgEAgEAoFAIDCCEUR+IBAIBAKBQCAQCAQCgUAgEAgEAiMYQeQHAoFAIBAIBAKBQCAQCAQCgUAgMIIRRH4gEAgEAoFAIBAIBAKBQCAQCAQCIxhB5AcCgUAgEAgEAoFAIBAIBAKBQCAwghFEfiAQCAQCgUAgEAgEAoFAIBAIBAIjGEHkBwKBQCAQCAQCgUAgEAgEAoFAIDCCEUR+IBAIBAKBQCAQCAQCgcAYQHt7exo/fnxqaWnp9emB3+PGjev99atobW1NbW1tJUzzvc3YXFwVwvUVl3ul1R9qHuTJEQgEAmMFofECgUAgEAgEAoFAIBAIBHZgIL47OzvTFVdckX7xi1+klStXFrK8EuLr169PDz300IbfzgjzSpYvWbIk3XnnnenBBx9Mzz///EZkej3zc7gunPirfw0Dzo7ly5entWvXbvgtXFdXV7n39ttvL2Eb81F/P/zww2ndunVp8eLF6ZlnntmQriMQCAR2ZNByzdOf5ffBBx9czlm5t6xataolK/yWrFBbpk2bVs4OfuPHjy/nrKA3+DuyAs16tgcf/vCHPyauwI6L7u7u1NHR0ftr26FzFp/OecqUKb2+gbEOcmEFifOmQHbI5LZAGln3FePTipVAIBAIjD7Q5UiCbL9utu8IBIYKbJc8JOr9lQqRlsdLvb/6B5Jt0qRJQUyNQVTyE6pdS4eRnTVr1pTxUei0wJaCTK1YsSJdcsklRY6effbZ9OSTTxbSnK5B0t91111lDP7cc88VIp0ecp48eXIhz++///701FNPpeuvv77cc/PNN6epU6cWGb3sssvSfffdV+JDzj/xxBNlYuCRRx4p6V977bVFH86YMSNdeeWV6emnny6TCo8++miRaXkxWXDNNdek2267rYSVl1tuuSWtXr265EN/7v4LL7ywxCmcZ5I3efZbXubMmbPN48FAILAx9DuN/dNow6mnnnpxPnXn52CEbTjnw3nD0evf7+965HLoynqmO5+dSjz1d7bzNjrn/rs723Pdufz8Ljo467ju3glV14rOq9xT5UHrhGYjRmfpBwKBQCAQCAQCgUAgEAgEthjIOCS7yW7k+WOPPZbuvvvuQpojji699NJCyp977rmFuJ87d24hxpctW1YWO82ePTv97Gc/S/fee2+66aabNsRjcoAbGW9iAFklzFlnnZVuvfXWEtZEJrf4K3FlgkD4iy66KE2fPr1MYCL43efaeeedV8j8mTNnlvtNcInXZMHSpUvTPffck37+85+XsPPmzQsSPxAI7LAIIj8QCAQCgUAgEAgEAoFAYAcHgtyB6EaY77rrrmnPPfcsBL7Vtsccc0zxR4Zb1X7kkUem3XbbLU2YMCFNnDixrIZfsGBBIdP32GOPEm7//fcvK3SFE5c4Z82aVch+7oULF6Z999037bTTTmm//fYrYYUzIeB+sDofKS9OK/iR++4/8MADSz4OO+ywEg/yHqHP7yUveUk6+uijy+p/ExPyJQ/1DYFAIBDYEeF9vOZ38srvU045pZyfeuqpliVLlrSuW7euZf369S0777xzOTuywmzNStK11qzUW7Nfa0dHRzna29vHZWWa+4hx46655pr7xBXYceE1Tx3qYIERIT57682fPz864kABufAKJ+OvP5AVssO43BZIi0HJYA1jMBAIBEYn6HIr+rL9OmpfAw6MfjRvj4N0shf15mAVLDIMoRV2yNgC+xMx2WjX0mdkx/YhyE+/A4GtgVX1dJDV7UA/kasqd2TL+N7KeqS+/pMecg9/4St5LgzCvd4DjW5hya+z1friMykgPfHasseqfbLuHuMu1/i7Rxj3mUDgttWOfAorfWfx4w3qPXVrikAgMLjQtrU/7Ww04qijjvpk1jWdWZd0NJ7zJedycPf6F7ez39Wdz+tr2FwOHVn/dGZdlFVRZyc/Z787Ojqcu7LeLOesuzrb29u7sv7ryr+7s57rzvZh1+LFi7tzmXZlveV3d9aBxeCbP39+OZ9xxhnOGxmBMaIJBAKBQCAQCAQCgUAgEBgDMEFosZxtbRwIcivcEeFIcH7IOivonetkYvV3tlc9t4nyGodwjffXsIj7tra2kia3uOQBOc9fXAh+fn6bqJIXYd0vH9Vt3+iaFlKxxi9u17gDIxvqrU29ZflwcKvTQCAwMERrCQQCgUAgEAgEAoFAIBDYQYE8rQcivb69zF3Pze5GP0RrvRfq2b74VtC7VsnYzt7V+BWN9ziElX6jf/1d3dW/nutRwV3z42iMD1xzWDnsHBgZMFEzecqUNLG9PbWvWpXas6xMnDChTNxMyv4mZoLUDwQ2jWghgUAgEAgEAoFAIBAIBAI7ICrZ7eO2Dz/8cPFDcNumBmmKePfxWG5+iG9uftxIctvU2e6r/hZOHD5Qe9dddxUCVtz2ufcRW3E2xuseh/tt0ePw4VvxCNdX2vVc7/Pblj51Ww9x8LMd6s0331z8PCc/18TnA7413sDwAonvLY1c8anz7/8+dXzyk+Xo+uY3U/cNN6Rxy5aVNyomVVJ//PhSl4FAYGPQZs0arfyOPfIDWwKdb+yRHxhqkIvYIz8QCAQCAwVdHnvkB4YbsUd+YEvB/kR6Ndq19FnskR/YUtA9l19+eSHb7WVvfGMbHTL0wAMPlI/RPvbYY4VAtcWNFfb0jvv0n4sWLSp76q9cubLc/4Y3vCGdddZZacWKFenggw8u8ZLP97znPek73/lO2d6GzjKOJ7v6Xh+29QFbbrJN/yH+ybctdaTjQ7XStm+/+006+PDt448/Xrbgke7tt99ejl122aXEv3Tp0nT88ceX8Ndcc03RtT6gKy4TCtrIgw8+mD7wgQ+UD+XiLALDA3VhJX667bbU+YUvpLRmDeE0eE9ZgLzykdJOO6XWvfZK6YgjUuvee6csDGVj8K4cpjPLDLmJvnB4oR614UabZjQh9sgPBAKBQCAQCAQCgUAgEAiMSHR2dhby3sp2K+YPOeSQ8oFaK9UPPPDAQsQjwhH6d9xxRzrooIM2rKqfO3duIeAR6sIKIx4TSvvss0+69dZbC7FncgmxjmA3cS4dpLrJAnGIC0mPkEfQH3XUUWUSAdEvLwhaK/ul/eSTT6Z77rmn3Ifg33333UsawsnfCSecUCYmuru7S3r8kYryYKJAWiYm9t133xLv3nvvXRZlbesir8C2oa2trawY7jr33NSycmVqM1nZ3p5aEML5XEj9xYtT12WXpa4vfjF1/L//lzq/9rWUrrwyjcvhyWjzpHggMFYRRH4gEAgEAoFAIBAIBAKBwA4GJLgDMW4FvRXuPh579NFHF8L8yCOPTPvtt1/xQ/ILd+ihhxZ/9x1++OGFkLei3Sp8QNojzBHvwiD6rbDfbbfdShj+/JDw/MS1//77FyLWav8rrriipL/XXnsVgleajWkj+pHy3NIVlzcGXvSiF6Urr7wyvf71ry/E/A033FDuR9Rb9W8LHfl1j3DyJE75lc/A8GEcsv7pp1N6+OHUscee6WerVqafPPxQWrN+/QtbhDSS+s88k7ovvTR1fvWrqfOf/9krakUmEPpRl4GxDi2guRWU37G1TmBLYKbfjPpggXIWn043ttYJVJALBqBOvD+QlfoK8rZAWrG1TiAQCIxu0OWxtU5guNG8ijC21glsDuxPBGWjXUufxdY6ga0BWWoG2aoyxO3QTxrXV31V9U49u04e77333kLM000VVuq7Lk5HvaeCn+vId6vlbcFT5bqiMW2o+RJG2Bo/iMebA7bWoServ/vlzxY83iKwIl/emvMT2H5Qb/a9T5demlp+9KN04ZFHpFd/5PfTsUcdns752MfTjPPOT521fvJ5XK7LbnWe3Sy31iwX1+y3bzroY3+SpkyYUGSQrAS2P7Sz2FonttYJBAKBQCAQCAQCgUAgEAgMARDZzUdnZ8+HaKsbUc7d3d29wc2/Xqt+VsZb2Y+crfc7QJgab7238bBi3ip7EwAmM2uc9ZB2ddd7apyuOdfr4nnta19btutp9DfZZV9/16zkl457A8MHsmKapevBB73OkVpvuSW1rVuTJk6ekroPPii1ZJlqMxGT66kl1+d92f3YiudTS1d3WrJmTbrwqcXpE1/8t3RLvg8aJ38CgbGIIPIDgUAgEAgEAoFAIBAIBMY4EOfeirfi1oGErWfw4VvEOTKVv3MNU/38bvQTJ0K9xsG/kvh9hXeu5H29Xs+NcL0vkr76SSMw/GjxRoiP2z70UOrIdXLic8vSz978lvSJXXZNnV/9errkwQfTnc88k9oWLEhn7r1XOvGM76a/W7smde6/X5o1fnzZfueJCePTgnnzSnxkIxAYywgiPxAIBAKBQCAQCAQCgUBgDAOJbtW8vfNt7WU//ZUrV5YP1CLwkemuIcitfPchXGfbkfrA7Jo1a8rZRMAzzzxTPnqLdF26dGn5QG3190FbH9u1PY57bRf17LPPlnSkL8xPf/rTEpew7pMf/oHRhzZEfq7f7ieesDy/kJAvn79TeuWECWl5lqHxWa5uefaZ9Oiy59K9WSaWPPNcWnDiCant9a9L4ydOTLtNnJTe9NrXl28ukL14wyIw1mFjo+b3Usrvgw8+uJyz4m5ZtWpVS1bALbnRtEybNq2cHfzGjx9fzrlxbvB3ZCXfWvHhD3/4Y+IK7LigTM2oDxYYEeLTkds/LxAAcuGjRc6bAtnZ1g5eGln3FcOjcf/HQCAQCIwe0OXLly9P2X7dbN8RCAwV2C55SNT7q2c1YR4v9f7qHwi05v31A2MD7M8qM9WupcPIDrLU+Ch0WmCwQabsP37eeecVUv2OO+4o+9Bff/31hYy3L/7FF19cPmZ72WWXFTdy/dZbby2k/k033VT2p3ff/fffn26++eY0e/bsose+973vlb21ja/OPvvsskLfRIHtUtx77bXXlrTcZwLAIS8+jIvEv/TSS8uWOT5eG0Tu6AGZMpbuvuuu1H3VVYXIB/vfO2ZMmJAWTZ+e5mcZmbh2bTo8X585eVLaLcvHnk8vTefecGP6x+uvTUtzmHef8q5yL9kJDA/UZ2P/NNpw6qmnXpxP3fk5GGEbzvlw3nD0+vf7ux65HLIYd3fns1OJp/7Odt5G59x/d2d7rjuXn9+lL8/2YTdbjx9bj71YuafKg/reRzNGZ+kHAoFAIBAIBAKBQCAQCAQGDbgoBNOuu+5aiHNk+pFHHlkIpvqhbmEQ+PbLNymJ2Js+fXpasmRJIfgQUX4fcsghJS7hkVXiuuuuu0ocfltpb+Eeol8cJ5xwQlmBj/CfOXNmWaXvXmmbEEDi80MmjnYg7cbEkeu14P77CVePuwkdnZ1pTq7z6fmYk+XnLw87PP3m5Klpxv0PpMNmzUrPTJuWPvQ7v1tkK0j8QCCV1ffNWrD8PuWUU8r5qaeeaskKuTUr2JbcaFp23nnncnZkRd46depU11qzsm3Nfq0dHR3lyMo2t9m23HbHjbvmmmvuE1dgx4XVITrmwYLOWXw69/nz55cOPBAgFww9nXh/ICtkZyAr3TYFaXnVkyGZ9VzIYCAQCIxC0OWPPvpoyvbrqF09FBj9aF5VX8mwzcEq1FmzZvWsZgw7ZEyB/YnYbLRr6TOyYxuSefPmld+BwGDDGyAPPvhgIeLJHV1FhznvtNNOZaW8j8gi1K2eR/hbVa+vRfiTW+EnT55c9B6ynw4THqmPuLcqf86cOYWgNyFA3rmR9wh+Mi6MdMTLXx8u3hpuNOtEefe2oDLdkXW7Z9OHOTo/+9nUfdNNXlFLbfrDfK0zy1dfT0+zrc/Xns/lY7udT3esT6eddXaJj1zsyGU20qHf0V4bbZrRhKOOOuqTWX46sz7paDznS87l4O71L25nv6s7n9fXsLkcOrKe7Mx6rxP4OfuddalzV27n5Zx1X2fWX11ZJ3bl391Zz3Vnnda1ePHi7lymXVlP+t09derUIuDz588v5zPOOMN5I6HXRpotgPI7iPzAliDLahD5gSEHuWDAMeT6A1kJIj8QCAQCQJcHkR8YbrBdGge9QeQHNgf2Zx5Lb2TX0mdB5Ae2B+irqnPIWXWTQ9eM/fWpDn6IfAR9JfKFr/fUc2Mf3BhnI8RVwwlT5b7Cb+jr3tECz+etg49+9KNlEsTExI4IdURO3vXrv55ecfzxqfPv/i61PP54umP58nT5U0+mw2fMSofNnZsm9m4jUkj93npV42vyvVcteSr9z8suTZOPODJdeP4vUtcgc06BLYf2GER+EPmBHQRZVoPIDww5yEUQ+YFAIBAYKOjyIPIDw40g8oce2vqORIip84o8tt5AaPZH5JOnkJHAcKGtra3IY396Tf+7rWOzHQX6Am8yvO9970vf+c530i677NJ7ZceE/q/9iSdS56c+lVrWrElrs5562wXnpqVTpqf5a1aml0yfkV62y67piPnz05QJE3puosuyPK1Ztza9/5ab05994d/ScS86przRQR8Ghg/aeRD5QeQHdhBkWQ0iPzDkIBdB5AcCgUBgoKDLg8gPDDeCyB9a1HHDDTfcsGE/7tEOdZ7H0uVZyEsl8smN8RG5qBDW3uImMoIsDYw0kNvHHnusTD7tSJNtWwt9wQMPPJB+4zd+I5155pk7PJEP3ddfnzo///nUlnXVw8uXpw/efEP69H+dntZlff2jH5+ZrrvowpSeXJwOyvLxqoW7pgNmz0nTJ0xIlz36SPq31avSGef8LM2aOTOtWLGiN8bAcEF7DiI/iPzADoIsq0HkB4Yc5CKI/EAgEAgMFHR5EPmB4UYQ+UML5KCtPd7ylrek3/7t3y62245cXp6NbgPnH/zgB2V1L2LQvuRB5gdGCvS79ry/5JJL0stf/vIdvm0OBPqCSuT/8Ic/LNvr7OjoOu+81PXtb6e23Bf+6J570j+uej5dftmVvVdTWt/Zma646qp02RWXpQvPvyA9fuftqXXV6nTXM8+kd7z7XemrX/la6Qftjx8YXuhztONGm2Y0IYj8IPIDDciyGkR+YMhBLoLIDwQCgcBAQZcHkR8YbgSRP7RA5N98883pIx/5SLr88svLxzXHEv7wD/8w/dd//Vf6xS9+kQ444IAByVYgsD1A7yGtfSD3Fa94RchmRi2TMUXkn3lm6s7HuDyu/sDPzkk7vfvd6Z//3z8UYp5t1tbWVg4gI08/szTdlHV61/qO9NKXvrSMxY3vcU6B4UUQ+SODyI8RTSAQCAQCgUAgEAgERjUs4rC1zlhDZ2dnEFyBEYulS5emGTNm9P4KjEksXJi629rSuQ8+kM59Zml6+1vfVrzp7I6OjqK3vbnhjCjeeacF6XWvfk16wxvekKZMmRIkfiDQhCDyA4FAIBAIBAKBQCAQGKVAfgUCIw2I2mnTpqV99tknPlI6QKxbt67X1YPNldtgTl6qr+5+3v5CpDfnDQbyXZLWI49Mn8sq6j3nnpte8cY3peOOOTYtX758I70ljkrq2wsfsV+PIPEDgY0RRH4gEAgEAoFAIBAIBAKBQGDQgJzdd999y7cbNkf2BlLZVvgf/uEfytY7iO5nn302nXbaaeW8bNmyst3aHXfcUd5yuOuuu8qWRbfffntx80e033bbbenBBx8s8dkm1jX32cZGPLaueeaZZ4r78ccfL9uSuXbvvfemH/3oR+VecT733HPpvvvuK/41XmnU+OTRNQd/3ylBut9///3l90bbKI0bl175sY+lP/t//y994XOfTxdccEEJv6ntWchLyEwg0DeCyA8EAoFAIBAIBAKBwA6Hhx56KN199919riT1rYJm9OVX70WKIaoQVL69gQzbHPpK12rTJ554Ypu/5xQIjAYEITtw3HrrrWWV+rXXXpsuu+yy9Mtf/rKsUvex4EsvvTRdeeWVhQB3DZF+0UUXpUceeaR8H4NO+vrXv14I+gsvvLDoKWHcc/bZZxc/JL3JAvE7zj///ELE//SnPy1pS+u8885Ld955p3250z333FPiEI4e9fuaa65JN954Yzmuu+664i/uJUuWpO9+97uF/L/66qsL2d+Iww86OP3PP/vzMhHwsY99rKQVbxIFAluHIPJHISi9r371q+nUU0/t09gMBAKBQCAQCAQCgbGOH/zgB4W8evLJJ8sqUEQU0gvR9O1vf7uQWFa6IqsQUl/+8pfT4sWLy57MwiG7jLuMuZBdCC1xGIdZdYpIu/jii0v8P//5z8u9CHr33nTTTekb3/hGIbyQbdK44ooryodpfZTXytUan/BW4AYCgbEJ28cgwY855pgyYYiYt2J9/vz55WOviHJvN9A1Jij322+/cp1ucn2PPfYoE4eIevebPLGK3gTknnvuWSYAfPjfx8HpHnF4U8J9dJZV+Xgm+TBJ6YOmu+yySzryyCPTDTfckHbaaaeSnuvidW327NlFV7a1taX999+/XPObTu1v8uass84qetc9gUBg6xBE/iiE2VWG4fXXX1+UbSAQCAQCgUAgEAgENgYyqbW1tWwTgbw699xzyx7MiCSE1pw5c8rKUcQUIh95NWvWrLJi3rYVVqn6PX78+PLRRatdrZJFiD322GOFhEeenX766YWsR8QhxJBwtq2YO3duId7EjfCXFkIM4W+VrTSuuuqqco/4hwMINUdfq2M3tfWF8PW6s2MgK2z7C+N+ddUX+PeXF/HV+xrdFX35Vbg20HyPFnie/uqzv3JoRmOZ1TICfgMtL2H6y8Pm8tFfXdd7m+OtaQ0k7pGMN7/5zem1r31t+rVf+7X0jne8I73yla9ML3/5y4teOvDAA9Pee+9drn3gAx9ICxcuLB+Dfc1rXpPe9KY3pd12261co9/mzZtXZID/e97znnT88cen3/md30kLFiwo3yx461vfmt74xjemV7/61emAAw4o7pe97GXp5JNPTr/xG79R8iCMiQM68iMf+UiZYHjFK15R8iTMoYceWuKVB3mV5tvf/vYyOeDoT5/JV3/12wx1uanwtc77Q1+yUlFlpj9sTo42d/9AIY5NpdV43bk+02ClHxidGL1abgxj0qRJ6a/+6q/S3/zN3wybwRcIBAKBwPYGQ36sHmGsBwKBwJbjoIMOSq961avKKlEEFxId4YWI50bwT58+vRD3Fkjx52f7G+S61bBIKffvuuuuZfWq+6yGRfDvvvvuhRzba6+9ip6eMWNG0dkmCdyPNOM2cYDUtyCLv9WsixYtKnl0P7f7tjdMdJiM8HaBZzRhIR+VMDIJUX97jnrmV7cI8tvZREZzHI2EciXk6nZDNUw9m/gwweG3sI1pqhP55F/jqYcJFVt7qD+rk022NObVKmF7ite06v2uya9tRJzlk59r0Ji+e7hHel+sPr35YQLKM8lzLUt5Vw7OjeXQeF149WdFtjdQrNRWXyamhOFft5USrt5bywlqnO5zv9+uVX8ry8mVemksX+nXPJADaLzOTQ7Ut7j9Fqd7/Fb3ZFD913tdr2dx1MPvkQZ5oj/A2Wr3CRMmFDey/dhjjy1lTn/NnDmzXKODuJ2R/XTJ0UcfXYh55Ubn0DWucVfQcw5xV+LdxID7uaVBL+KdlC8yXxzSogflTTj6TdriljfhDj744PS2t72t+G8L5N/bBd4GoBvUY607h/TodDLReE1+nfmRUzqXW3xQr/F3QJUx17i1I/dyO/i7XsM5XG+UwxqvMBWNcdZr9X6H39qpt7Hq9eaztyvoWs9b247f9J30A2MTeqLm3qj8PuWUU8r5qaeeaskC05qFpCULektu8OXsyMqyderUqa615obdmv1as0CVIwveuCycWW7HjbvmmmvuE1dgx0V9jWqwQAGLj/JmQPf3alZgbIFcMCh0av2BrJCdbd13VFpeRWS0eF0xZDAQGF4wWBmwDNqxBLrHYM0Ai1G/rbptrIEuRzoYsG6q7wgEhhJsF4P5CoRTJRA2Bau3kSEG8GGH9A+60QcbP/zhD5etbioZ1gxlSCc0gk6lGxqvVb96hr7ubUZj+EY31PtrPTantS2wWtbe1J4d4TcQ2QJ5QIR96UtfKkQcPVntXoSecZgtgKy6JYNIUlt0eLPBRAay9cc//nH6+Mc/nj73uc+Va0g8cos8VA/eUDj88MNLvN4mJ8+2F7INB0LQs2sPJjocRx11VCEDEc6ue5PBSmHPZ7xpVbK2JI/Ir8MOO6xMQnhb3Wpg9/lg50te8pKSH4S2fNhGZJ999ilxeC73c+sffNgTIWkVsmdSFp6vfl9B/r054T7peQb1NtKgPpXlN7/5zeI26eRZ1DG5QIban9zkFp3k2dWT8Y5wyFnbQDlbLEielKk4P//5z6c/+7M/K9tRIXjFre6ko6xs2+JskkuZKx9bWiF7pS2cgzy4Lg/qV3mbxCJbVpurF8QtWbGaXJ7JSt2KBYkvXffLv7xyf+973yvy61mQzVaxkzPXyaM0EL7qUDzku8rD9gb5NdliVfsPf/jDUg4DwUB0UCO2NHzFYOikTeF//a//lf7pn/6pbHX2ohe9qE99Jd/yQb/QHbbq0fa1eTKGwFbX5LTyRcYJwqpbcqW+9QsnnXRSId1NtpJ3+gIRzs+Y4p3vfGepD/JUZZuMkjWyJW4TlfJggqNuSQTyrn3QNeIkr0cccURpT/LvGwLySAdpe2RZWhXeajDx5PsHronHxKKzcPyMfWwFZyKHriLTyHxjA8+gnRgjbC9ZVjfKudGmGU3Ifcwnc9vozDLe0XjOl5zLwd3rX9zOfld3Pq+vYXM5dOS67sx6JVdBZyc/Z7+zTDp3ZTkp5yy3ndle6cp115V/d2cZ7c66uCvLa3cu067cz/rdnfVgMRSy7JXzGWec4byREahlN7fu8juI/MCWIMtqEPmBIQe5CCI/ENh6kGvQhrSRoZRraYh/MNJA0jCAvRbMkGcUj5U2qRwNKLxujaRiOIc+GjjIfBD5geFGEPlDi4ES+TsqtoXIZzN/7WtfK+SY34gtJBKSCCmFUEVm5XF9IckRXQgr/TFS1n7/iKv6xgFZFVZciCjxIiqR4Qh2hJPxHbJePNqGukOiy7/+3RsL4nANafWWt7ylfEsA4VX9EWS2EUHGIsF8y0A46fuNsDMJYWsQ9zkQeWRD3pBl8iC8M5KOzS/PiGBxn3POOSW/8mfbEPdJz7MMtIy3J+SPbkG2exY6wwQF3YPI9szIdTpFOSBDPbfntTWK60hK9iGiUv17fiu8v/Od75R+VD2TMWMkcUtHnMZK4kEqItXr2IlMKHu/2XGIS0Sq9N0nfoSr8n3Xu95VPsoqf3ViwFl9S9uz1VXSnsnbMPp3kw3kA4HrQ6zyh/Q87bTTSv2TGfd5NpMF6txv8ZM34bd13LglkHdy1heRb4sv+dJGkNZIZVCWJpOUpfZmgknb6k/XacfIXmVHLvApylnbQkY3Q3jktzaiXpSt+yqkJ5+VwN4WDITIV8ee/2c/+1l697vfXbYhMzFDTyC16Xx6iR4gd55V/SPzPbPnJFt0lrpW5mTINkDSJVd0hDC2C/JGD/kUjqxWGSMXeC5yIh6yKW5pyB+/4447rugf5aOexGnyUx1qN7WO5M9bRbVdSoeepVNMXqkDdUo2lL20f/u3f7vkVZ1UuRG/Mqt6y1ZH0theMixv2r38jEYEkR9Efm5ID5Yvg1O4M2ZML53CtGnTs1LYOTeklBXdpOJuaWkt16dM6VEKlM24ca2l4Wp0GsKmkOWgrHzQsBlPjaiKqT8lvr0gj0HkB4Ya5ELHqR31B7ISRH5gtIG80eWNckavVrhO7vuSa9ccwjuLwxmqu/Gc++pifOo39FvidK1eb74Hatr8oPr77ZrfNf3qb7ChnxsM0p3Bjsy26u/0008vxvBYgkHPpz71qTJAZfCrw8DAQCaDyA8MN9gudHxFEPmDi00R+cpaX9QM5e8+QGgq44GAjakuNxfeKujNjfE2B8SOvJGBTWFbV+SfccYZZbyFWDdO1ccipuRf+Rl/sgEqsYjIQp5aHYr8tZoaYcpuZjMjmMRr/Ir487FMJJfvEyg/afBHSmkbyDfjXCtg1Z18tLW1FXJXXEjZK6+8styLbFSfbAx7eLv/zDPPLESXPMkzAl588kvvi9OYUpwINHkRn7jr5IMxtbDiQWZa0S2/yr/aQFbGIuhGMpEvv8hhz6ysyIPyQiBWAtLz0CfKvRKK9kZnZ6lv5Yb0dt2kjvojD+oTwev++saENmRCR1hp2UcdUWoSgEyJWx+svNS5+lGOrpEXeZMHMoFQNQnDnyyoG2fpgHxJT/tjW4qTHLz3ve8t9pE6ku862aL+kOJkVB1rT65xC3fCCScUmVBW21O/yn9/RL63Y1wn+4B81/4s5tC+PYtnUxfKwL3qjby/7nWvK9/vUNfqyTOqczJhgkXd2y5J3Mhgb1+Iy8SKdq3cXXOPuBHb6l58COP3v//9pa5xX+5Xx+pAedprX50OBAMh8oE8y2/VUw6yQg7kUV6rHxlDzKtvk0FW4fMTTv60f2/TIP/pC22jvt2DCDe2oHfIMFnyRo+2IH7Pb3s2E4NAP7jPxIrrvlGgbuRDvMrShBWZ9gF0+VBe5NOhDVQd6FlMLlnxr03Jp/ahzoWxRZF68saR+6RHXsktqFsTbZ69cdw4lFAf8qIMRiOCyN8Bifxc3qUzoJQ0Kg1CQ+0LOvtf+7V35gZ9aVFaucKKEqIA+0XLuNSaS3XnnRdk4Z9UGqhVBi9/+SuyAfZ7ubOa0xtwY5hh/OM//uP0vve9rzTmCsbMn//5n5eG9I//+I+lUTVCnhgjjD+KYCih7ORnsOBZxBdEfqAR5KIaoP2BrJAdHeW2QFras/bFCA0ZDAwVyBpD00fwyC0jk7zVVTigf2FoM8zJpIGPQZNw+ivGp/BkXxth6DGwGK+ukWFxMCgZ/QbfDE/9kHAG4e4xwMl9dxnsMOIZsWBFnsGrgYO49CvaobD6KEaqgbY4qpH6/e9/v/ShBnXS3hYYuBk4/Mmf/ElZ3cIgHkvwXZy//du/LUSVQcq2ludYgvZFPoPIDwwn6GW6toJuHUg7DiJ/YNBH9EfkWwVuBSuiC1GCvDXeQ4wgqZQxkqr2vchDfamwyt518RmzIQbdLy71J139MUJGHPpURI6zflP/p6/WV7pubKkuhXGWB7JhHIX4ka6w7jF2QygZlyKVN0WSbS2RX1EJOXoSMeR5EKieQ37oTnlCKnp+/TzSihxzu6Ysqu3hUJb0r/Jjd/ATJ9tCmQnrfuUgvVpurikP5aUuQBmxk+RF3Ym3xiNdxJfr8u9a3bffb4SpPPstvVq2bCflXZ/Hc3tO/uJW9+KUL2WPdBQvQtSKZvGMVMhzLY9qk8m7clRmtT6VpeeHavOpN/dwsx9dd4/y4e9e9eNQpuBMhrQLdanOxa/+yIx7xId4rfmQJ/VZy1e67gU2qTCu4wLYnexXMoowJnvqXJ1I037w4ld38kqmnOWfTCG05UX+xUlG5M814L89oS30R+R/85vfLG3Y6nPPoJzJG5vdWwc+jM1WVz7sYra5tySQwchnK8tdY5vXtuV5EdvGtex4ZcetHUgbr6UtsJXY7WRBmdF56kU47RXhbZKMrrJS3iSAsvM86gShXGViU9gSIt/zKytlgEiXJ+MdEz7KgVsejVvUKXmgO+hsMqm+5V95kD/Pxi1Nv8kn+dMWtBnyLh5lJ21lbpLSoXxcJ8/yJg7PTz6VD31tosX2YuI2cUCWlYnykR9t0n3icLhfWtKUnt/qw3NKw33anjZFHtSt51XmntnzOYTjvz0gX9qvPIxGBJG/AxL5jCmNCAinxkEh9SWk3/jGt4qxeOihB+YO5TWl4euYdDYMN0oBNNyW/LeOgmqfmNatXFb8ewzCWTm9znLvwQcfkhX3NwpJ0wx5qq8GavwVubzTZz/72dKg/+AP/qA0qkaYJdQ5UhKeh7KjAIYCWVZLBzBY8CziCyI/0AhyQd7JdH8gK2RHR7gtkFYQ+YHtAX0MXY1sOOSQQ0qfYPWHfWLpP6tfyDQDkKHOWKTLnfkzABmgVpYIw3hkOOpnGJwGzggKxu2Xv/zlsqqEUWxQI9zrX//60l/ou5AM7qnEJ2PX69he+TSwMFCqRrBBrv6Jwam9WC1k5Yz+QHoGC/ImvW2FvrQS+V4Zbxz0jAUEkb/1IJtB5AeGG2yXxvEEXTqQdmzwHkT+5qGP6I/I/7d/+7dCZiF8rGxE3unHqq2oz9N3Ikvy2DV98IMfLH2ZxVD0hnDCWEz1H//xH6VfVneIfveLz5jRmEV4faA+Wl+uPzZx7h51KA/6WRPd7nO/38aN7q/jn5e+9KVlDCpeW9foR93bH7aVyK+yWW1nssavypyzvNGhno9bWGdwrmGgUVbFU8fXNc4att7nEHfztcb81LgbwzmqX80bv/o8fqtT8TTG4bfwjWnUa87C1ucTl/Jkc/ltXDDSIc/y6vmhlkktr1oWyqCWTfWr4HY0l12F3zU+EH8t/8ayrffV367V9KDeB41+1S288tee1CVdCrVOtDX+4q9p1fjr84mv5qXGW/MzHJCf/oh8K+oR7d6EoNfYL0habw/QJXQC/VUnJekL/QSb3oIaRL6tZ4wn6Ay6RZkhs5HDJgjIsLdu6gSANJSHfJj8oEtNcuK22Jz1+wS+VYHgt7AIsV7JY88jD/JsrLE5DJTIB/mq9UdH177QPeq+1qFwDrLUWO9Q3VU+G/2rHDTLbJUT5au8+NV8NMoQNIblli/X6j38HDVfjfE3w7UaDmp4fjWeer8zVP/tBekqk1qOow07CpEfI5oG1FlgxjVjKldCmdntC1dddW2aOtXrMz0fT7E6kEGGbDdjyohizDHc5s7z8aAFaee5MwtRLzxl294+vihW7jvuuD194hN/lZVSj6HTiFzJxaATXyMod9sM/P7v//6GhlzhGZA3VqBUEhIRo9PIctUbKhAIBALDDUaa/gdxj1CnvxnTDHlEO91NjxvsW+2B9EfuM6CQFe5nkCPiGdKMbH0PnHfeecXYR1IwuqwS0b/pH+y5aDCg/zLIZoAzQhnW4kHW+42Qd7/9MaWJUDfR4DpjXpz6IAa2A3Fhz0p5dw+/5j4qEAgEAoHtAeMu/ZTFGfpS/RiiRf+HFDIW0z/qu3xY0PjKdWM6fal7EWagv6wkhslz4fW/9bc4ES7i1K8af3EbI9bVq/z05wgy40JxI8SEEZ/fJsMRVQg140D3DBbkrxIwnsVvMD6sbvC7plv96zO5r/br9Xfjud7n7B731zgar0lDmUBjeuKp/vwa4+Vfr9U8VD9p1HvFxy19vxvvr/cIA43XGvMBfouXneZoLLvG80iCPNe6ctQ81mcE5xoGPBd3Yz3V8nG/3zWs383P3Sgb4nbU3871dz3Xw32NEL7WQb0uT9qudlbj1i60G+0VavjGdLlr+uJofDbXRiKsnPd9BhwO3WNP+BNPPLE8h9/IemfckDMi3L7v/AExb892q/Ndf/GLX1zGF1baI/Mt3rGFEX1lAQ5dg7vypgM/YaXn7E0HetA9rtOXfvsWBaLfIlG/xe3NgIGQ+FsKdVXlgV4GZSEv/Gt7rHJR3bXeHVDP/N0nDHlovN4od9WP/nYP1PhrGEe9VsPqA8hklbUap9/c0BhPPdcwrnGLl7vGVf0d9X7n6h8YeyD5zb1P+Z0bfjmvXLmyZdWqVS1Z8FqyoLRkhVnODn65EZVzVqYb/B25UWWZ68GHP/zhj4lrpENDQW7kLBelQNnpJHQczfjpOT9PDz/0cGpp7elgvEbDQLQy0cwnP/HVxudcDTG/nYVhpDn43Xbb7UURb8nev+6rCqQRZk4pEgrDzCoyhnJF6CBVrO4ZTNTnGSx4JvHJq+cIBIBcaEt9yXwjyM62dmrSqKs/GAuBwFCBrNF1SHHybSDvt0E9Qt0rrPQ4fW+FHpgsRjoIYzJYP1I/Tud+/Zdr/NwnDrpUvMJoH3VloL6Bf13FbysAfQfjHhimCAcGuzyK36oeceuvrORBlOhXTCZoM8Joh/wRFfKwLdAnm9jwKq8Psnm2sYRf/OIX5TViE/dInmxn9V4JbA7al0UZBvyb6zsCgaFCHQ9U0LEDacdWX9LBlawI9A3lY5L7rLPOSr/5m79ZCL8KZLy+ygpSfReSSx9pwhwZRS8gwZD0+jE6Vr+lzvSD7tVXilNc4tDHWWDFX7z6yErimIxHolkRq09FdIlHX+1+fa5w0qt9p3iEE4c8IYyl77mko7/dlP76yU9+UibZPbt0+pMt8XmDz6KB2pfoWx1+i4ONIB9QrwtPZuuY2DiTHVHL2Vvtnsd4WBruFx78Nka23YV4lB+I2zXxcGsftV1YBEBnA5uCPeG6g5tfjZ+feCxikC95dJ1fva+GYyvxb4R4anzy4rpw/PxuzJ8V4PYNZ3/xE6aO40cq5E2d4zjImudj88k7eA51Y8EGeTV5VGWjlguQPwedhO/wxkqdGFNG9Xpj/UjbwhP+VZ7FK3xjmfED99W88XPU+mgu4xpPjcshnHQa6wwHQv6sLrcwxTMO97hOvvBF3sT99V//9UG1aT0f+76S3lsKeSPfQwlvDdhtwhsJdF+t//6gPslcXZBKRtQrPWPcQa+SGbJH1jwDt3pXzvSU8UuVazJCVixKEoejyl2VqSo/9TfIg3Tp7+pPvsVHpqpMVj91IA4LqKQln/JPppv1mHzLI73nrJ2RCx/59Qy1rdX2VvM3HJBXeR+u9LcVp5566sX51J2fg+BtOOfDecPR69/v73rkcujKddKdz04lnvo719NG51zf3bkOu3P5+V36lCwr3eqbn/qt8gSVB/U2TjNYBM1WQfk9FrfWUZAajkaG0NCwHGY8m/Hv//6V9M//9Jm0aPcF6YwzTi+Frd4ItlWKlXRBBFIi/DVYpIyz39JrXPHvVaqTTnpJNuCOKMrE7CbiZGuUu3QoDIYohcNQJBgMNAbpYM+YKifpDBaUj/goPvXR0yYCYx3kQmerbfUHskJ2dHDbAmlpuzp/nWfIYGAoQd6qAVgNO35+091+g2tIAueKeq+z/oUBUOVVWxG+sY8CBmxjOP7SEF567nFdfPzq4Y0AAwQD8Zq3Gpd+z0AaGcF41Y+5PhgQf39b69QJdHkygPGbsd4IeVRm9fn1vfpn/WHdS7MZnt3gF6HCkBJePMLWPo9uqPC8Axkcule8yBb2gmdrzm8zYmudrYc6j611AsMNtkujPqRjB9KO2fPIt6rDA32DHu1va53tCX3xcOiZgWytI1/IgDrhrh/Vr5FLBJnJCX04WTNxQN6Q+Pq5+rFQq335s43FgfzVjyp7Cw0Q6cat9K1r6sX+/j/+8Y9L2RjTGdsZA0vX+LQugGM36Jv1uc7isABN364diFe9mgyQd0QyP5Mm7kH+6/+1Lc9lDM1ukKbVwp4bmY0ok2d9uLTlRbz6ZWN+E0LKSRjXESz6EbaNOH0kV97ZDuwh423lIR/a+Uhrp/KKWPR9B/WKG5BnBCp7RB2b2FKuZKfWh+f2zGRC3SlDdWLbFmVp9bYwbD9pqCfloK7YN+pO/asP8atTtg5/8mkVuPIiJ5dddlm5pq7UK7fw7CoyIm8mzKoeVEfqS/zq3pYv7lPfnk/dSIdMehb761u5bhLGynJ165mGC7XN9bW1jryzOdWDcuwLyo+sK2+yq6y000bdo9y1tb7iqPcj7JWj8tZmxCPtOonWH/rSc9ISBzlQL5vCQLfWUdfaW5VRsmYyhhyqd9+r+NSnPlXkVlskS9qqMlH/wpAVcq+du+Z5/aar2ODvfve7S1nUDwYrA8/i+YQzsWo7IvF5Pv4WFOHt5Fs90UNkStzCuN+bENKWB/nS1sizsMpYm6RPyba26A0Mz+ps6zUy4i2ur371q+UNDfknG+6Rjt/e3hDX9tY5ypHsyeNoxI6ytY7S75PIH4sr8vMzlIamI9BwGM4apU6mGctyIz/vPB+9eSy9//3vKx0PA8RBGVIw7tXpMIwMvCkZHYrVjg57nTFu6qET+t73vp8Vyz3pC1/4QlFuvqrtoyYaK6U6UMNUo6Y4KDtKOtdRUSwUgE55sJEFtnSUgwUKQnwUnmcJBIBcMA6cNwWyQya3BdLQZugFhmMgMNQgc7nL7P3VA0ZSlWXXufsynFxzNIYHbjLc3B4aw0nTUeOoaThXf/Bbn1YHqs1htRNGsHvqvYMFaTDkm1fk69sY0waTJuINXOoKHMQCI9oqLG6Gukl6+RfetkPyaOsi8bvGqNfXGuwbvPrNuBens/DCSctvzyl+hjgDHBjn0kcqKA+DWqsV5c0AgX763ve+VwYlVmMZfBlQuEdYaRp4NZZfrMjfepBT5a5eqywHAtsbbJfGNk13DaQd01V0Fh0V6B/Kh77va0X+9sRw6ZiBrMgnc/oR5JR+BhlkTKgP9fYAPakvMyZF+uoHkd3uM6Y0BtWP6YsRVUhRcegHEbv6MnYAUhYxifB1DcFm/Ol+BLI+sNaPvs9YVbnpM70tYdzrOtmXH+NyY2n9rrDyoK+Unrj0pfS7cbtFcPpbeRdGPy7//E1yeDOiXve8+nF5lg/2ja1I2BnG7cqFXDk8h3SVHVJYvpSN/h8JpzylUe2jkQR6p5KQnpUM2DaFzYIYRZSbqFFfSEQ2TJ3cMKGhbD07grYSv56RXeRQ7uJRX7ZVrOWp3pWPuNwvrPjYReQH4a4O1ZH8uQ+pzb6rK+eVsXrStsUhDWHdI11yQ7bIG7nD35x99tlFftSFdqA9iAenQHZNQEh3OOtJnbD5+lqR7/sc2gnbnd2qrDwj4l/+PRO+SRmTZc+i/Xk+19SfslQ27FXtQJkpA21MueiPtCv3+oaIejcRKKxr6k15u0dZa2P1fnnSBtii0lCv+DM2tXxpb9KVF2ngceSnEQNZka+MPLdnJHueV3rKiuyoY7LLhsev+ZYIYp28iE+bVMcXX3xxkXf6g86SP/kShzKrOpCOqW1eGQjnmcmxNOSDTGrn8ux7K55dHulePB+9QMblk5xpc/ROrW/tRPtRv9zyW/NpkvDaa68tekic6lp91DJV7tqOOvAs4iTb6mF7y7LnI5/yMBqxo6zIDyK/CTorM10Um4Kj7PpCaxbgSy75ZVaqD+ayOrB8lXproTFT5JTJPffcWzrJBx98oDR+jd51RgUFqfFqsCYJNKJNQcOnICgh8VBaFJ2GN9ggs4ypwYJnE18Q+YFGkAvKbXOyT3Z69OjWQxpB5Ae2NxjOUOWcDNLjddCbu9Ry1DbgrNNvbBN+g3CgLTT6Cdt4fx3sVoLYUfuJ5rQqxOl3jReEZWw61zbYeM+2QDp9EflgkKOPY+Qw4PUb+koDdYOX2o8bmNTBnzDIcXk1QKx9pPJnpFt9I6yyMOg1qBdWvOwDaZnAN3gxuFBP+ioDKPHpd+vzG3z5HgFjneHOxpAXg2aDIwa7dF2XB/cKQwYqgsjfeqgDchFEfmA4oT3TIRV05UDascEdHdaoawO/CuXTH5Ff+yP626BZedKz6oPuVQ/c9LOwftMVwrD/kDWIGou0XHePPlLf4z51qU+pcVTdre703+4RX+9AvfQXtX+oMuCaeOl51/UvW4KBEPnKSNzC1Ul5/Q7CSX9p3OgZkaj6IG7Pok/Uv8ljXRUrr0htz4yAMi7Vt/I3JlYe6kAc4lcOyL1KBns+fan4nPkrD29PIcn0c/pGets1ZJu0KumHNOPPFtCfehbxqAv5ZC94BuXsXnnVDyDArJwnBwg6xFgNI0/ypr702a57LnmRjvidKwnot2dTnsoViawMxTeSoFzVCz5BPVRSU72pV/Xi+f32HOpNWTiUv3aFRAQTOsqAreOM2LSlkvJX/8qKnClXcqSMyJq2QpaEIU/iZXtqX/LE5nINT6HdKVdxyZ901Cm5lg+yRQ4c7qlyK36EtkkpYeQR0auu2GnS9Gx+y+9w1hNZZnf2ReRry3SOckI8K38EL5nl1lbJpmdlR3om4cmsNoNgZvt6TpM1nl358xeH9qtu3SsN9UQGhFFuwisbkzsm1diwytl9CHxlJz31pK5PP/30IhfSVE/yKk4yJozJsWbuaaBb65APOkE5yINnIi/KS361a3KtvVskq1y1WRM7/OgIW4vKL90gvPLSVutbRgh8sqN8yAtZch95cZA7Nr9nFJYM0i3KGinvuvjqpBWdRo/Ig2fT72hznlF7UEbioWfoSm1T3viRCemLRx1pu9pPnUjV1uRfPH6T9eGwDeRLnSrv0YjYWmcH3FpnS0CJfOQjf5y+//0fpne9663pS1/6Uu+VLYcZvv/zf/5PqbBFi3r2ZLzoogtLB6ehVGjk0qW8fHTkQx/6UGn0AwWF0axIBwvyRlkPFjy3+ChpiqynTQTGOsgFA4Li6w9khez0ZxQMFNLS8dcOM2QwMNTQeRsQ6gMYbQzI73znO8UAZAwy2vQBBlrksxr+jEr63eDSm15+M0IZhOIQFyOdsclgcNT7HVaaMEC9bmzgY7DLACX34mVkGjxwI7QZ8wxNRoe0hKuGPQOa8WwFPONdPPqHbYUyUTZ9ba3DGJcmI18fZxDBWFeeBoKen05QbgYaDGf6wcoZBpIyFb/+Rrl4zdcAxH2uuVe87hfefpXiVl7CKzsDSX24shIPw9s94nBdujXPBgoGJsLRL9Jwv/DKUJx13+aK2Fpn66EcY2udwHCDjqQ3KuiKgbRjYwG6jX4JO6R/0OH0Y19b65x//vmlL0AG6b+syqb/6Vxlan98BJb7xFNJEoSZvoT+0P+95z3vKZOqyG/+JnLpePfSM+7VF9mCBOFiUkH/Jx0EpfEeOVD30kVKuUc/qo/VXzsj1/QvW4KBbK1TIX19jn5QuJon+pGMcuubXK9hPZ9n4SfvSERjUGXlmmeE+rzCKTNhKyEhrRquosYLiDR9ZyXX+TuUkXD8nNkwNU+AeFTe6qLxPs8grOcSh2t+e94aV/MzgrN+3/0gLCgbsqD+9dGejzyZfNFGbaUhTA0/0lDrw3OxZzyz3+qFG2pdKINaDtXmYYeSTeXnHuVaywyq2zU2p7gRnsCtnVRZEJ96Y6vy15aQoeRDmcqP+N1X763pSqe5L2/MLzmwOl892SoJqer+mt+az+GE5+9vax16g75ShvJay8xEC/llJ5I1K831D56PHLPJPTu3iRD2uLrjRz7Ztexb5DMCmNya1NLukITaM/2lDG3ZgiAX1jjB2ELZW1Qqb9UeFp6/8QXdJU33yzN9VscZ8u6ZKwa6tY4685aHiQF6lX6oMuA5q67h5zmVT72PvJMjYZSlA9mvvVedJ08O4T1Tc5sH18TPz3ORJfpE/NJubDsOeRNnlTP3iaPm0zV5quXET3z8hXFfvQf4NcJ16dTnGw7Ig7KS59GIPK7eIbbWIWHN2qz8DiJ/8/iXf/nX9LnPfTErrVnpW986rZAJueKK4qJoGIEaX1VmFEZVMLlsisKhdCkOM6bupVj+67++mxtGazYWL8gN+1dXAgtHiSC4Gazve9/7yn3DiSyrRSENFigI8QWRH2gEuSDrtXPrC2SF7DR3fFsKaQWRH9ie0C9YIWNVjf6BzFnxgfjlRrBDHeQwovUFiGIDLHKvfehXtBGy+7a3va0MuBHJ+hqGX+6rSzwGy295y1vKKncEwwc/+MFiiDPexVsHeuLRHrQphAO89rWvLQa8lSauyZ9rjHjhTCK88pWvLIM+/cO2gpHbH5HfDGXWSOIMNgyc1A+9sL0QRP7Wg3wGkR8YbtDNjYNeY4KBtOMg8gcGfUR/RP7Xv/71Un76RgS+bSSUq/5NP/jGN76x9IH6Uv2oetEXum78pq/VH775zW9O3/zmN0s9VoJKPO7T16lT5Ly+HNFv2xbjGBCncM4nn3xyIc7IhHj16eoWQab/Qn4OJZFf++xGtzNUd/P1RncNW1GvV7jeeF9fcUHVx43hatzN7kb0FY/fjX41TPO1vuJsjg/68gN+6r/xmrImf32FH0lofPbG5+vvWcE1dqNyJNfsu77uh77iq27n6q7XlGOND2o8UP0qGuOBZndF9ROvQ7041/tHCjx7f0Q+HcTupq+4PQObEzyD56GbcEriUT+er7rpEH1GDeOa+nOtyqkzfSUM+a3lI4wzf+n4bexBT7LljYtNvohXnHSXtOg5v+lKMB6gg8mMsHRlrRsYKJEP8iNtOlyeKmqenR21nqH6O0MNU3/X69UNzb8b0XitMZ7q3xc2FU9FX/H1dR/0lW5/YYca0iejZG40Ykch8mNEsw045pgXFYX18MOPltlCq+r/4R/+If23//bf0he/+MVChFCAQOApuFynxc85V3I5awT2I0SoWHkpHFKmtbXvxiEuChYx83d/93eF2DDLGAgEAoHRC7q9kghW0zC0rXLRV1hxY8Bv4I+Q9Bq0/gORXledM5QZ3K4zeL16W7ducT+DW5+FJLB6Dfi5h0Ev7WxUlFVM0nYfYp6Brs+RhjDid51xblWPPovRztCvxp10hwuNBI6yVH5bCgOC/gYWJpcriV8HOluLbbk3EAgEApuH1aRWhJqARngj8q1oPfHEE8tKeUDA87c632pUpD2CyfhMP2gFtv7TG9HCuK9O6r7zne8sb6Ah6K32t7IVuWWFsT3frSS1EtTq4Le+9a2F9BdWesL6kKG8iNcHQLdlu9aBoLFPrG7nRndFX279XmNY/T44O1yvkxMVjWHYDMa+SEFvPdT7KilU46zpNN7rqH6Nvxv9KvixWdhKIF3g1xhWuGb05QfuqfmqB3uov/AjCTW/1V3B3Vge1V1/gzL03M0Qhq3kqPc0xsetXl1nM9Y4XGt0VzTWeT2g+rleyWluR19h1TV7tqbBb7SAne9Z2Jlsd/Y0m97BFnfd89E9ftNLjW4cUmMY7nqtxuFaDeN39RdGumS6/q6LIPhx82dnm+T0m80vn8Yi3A55cG8NW+tmayBt+avuikaZMD6qdVz969k9ZKZRBur1ipq/qivqb+fmsFCv82fHN8q2OGraNVwjXBce6vUa1n193cvdV94CYxt6zGYpKL/H6h75W4IJE8anc8+9oJDoRx99ZFFcGhlFB1ZCWrHotSRECOKdkqOQhc1FU86UbL3X2StOq1f7MvVzhWARri/wd3hV1Ip+hh8iZThQFdlggXISn8kQHUEgAORC+9pc50V2yOS2QBoMA4ZgNSACgaEGWaPHEQdWvXAjBqySp+OtzmcwI/iFcWZMIypy31tIAXKLQHBNn4J4tmUOIsLbYvohh3ikUd98MjkgvGsgLnHzQ1JAfU3aNXmte0HyNxmAtBAfw92KxNofbisMBPWnfe2RjwwwkWD1o/4UrGTydoM+lC5w1p8YwMu317iRMN6k4zbYcE/tc33wynVl6rk8k2vSUZbyIz7XERHeQBBGfJ6Z20SIeO0DKg/K0dsW+nqDWjaB+Gr8/Dxj88oliD3ytx7KUt2R5c31HYHAUIFeaLTn6YGBtGN6CeFSSc5A31A+VtH3tUe+vtDktX6Jfq19K/86KSs8t+t0hb4NScXtXmGBv77X2IQ+qf2qPtS9/PVD6rvGV9NEbolHffKjy63ElYa0hDEBUPO0JRjIHvmDAeWsn9N/ySs51hfyJ6v6V283eDvCYgL9GrnX9wL73JYq7tH31j5QfMbTdUwsvHjE6xAv8ktYZcstXvEJ655KjgnP3/hbWvpoZc8tvbqquNr40S/0LHpQjrVsyY9D+Sg/17iFE6aGVR8Wf9S6r/BbPZAPdo/6IBPiIDfKXrk31p+42G3aA7CbanrguryRG22ZvJsw4paOQxhpjHSQXXZjX3vkjwUMdI98MkIG6AtvVmq7dHANT47IDBtamxaW3PFXxvSK8ZPrdLPrjtrmq7yQV36+CSAecsmfbJIrsi3O2j7Ewc897rWgV1zSwOOpT/kQVjzyIh5xiJMMew73iKPqLpyevGoDnlEc4DmuueaaolOVBd1mO1Xjr+GAPNfnGo2IPfJ34K11KFWv+vzFX/xFUS79QUP68z//RNkK5/Wvf2UhWf7jP/6jdCgMBXsb11ctVYgGqWFy9wUNV8NAIPzgBz8sRL5G21/4RsgLQ/Kf//mfy4qOvnDmmWemc889N33iE5/Y5HNtDSgnimmwoBzEp0wYxz1tIjDWQS7qCoL+QFbITu3ktxbSYjDUwV3IYGB7gGyTPfLmDGRZP0DPVv96rm2B0anz58/PPdzOwjXeX8GfXzXGGKbA7ahha7ialt/CNv4G6dd8AHdjetsC+e9rax1p2EqgGtaMZ/0sUl+7RQogByrh8KpXvar8tleovpqhxCCWZ8+DfLfFEBuAHkEMIYFf8YpXFMNb3Ah+z8wI90aCQYS09fXSVJ4OaXtjQtrSQQbZr1QcPr5lUMJtMMdQYzfIk8mQ5kn52Fpn66GuYmudwHCjmYynLwbSjumbqkMGS5/uiNBH9Le1zljAlmytsy1QztJAKtSJCOSXNPWt+k+TCkgJYcmtvJB/E9XuMbZDQNHNJgUQZ9zIKovg3GO8ql/3dqL+2uSJeOq9PkbvPjaOQ59pkl2/+4EPfKBM+utb9cn6bm9k1O2ShNdH63O9Ce/NC7bEWIXyPu2000p5W5TBJkLOK3Nvqqhr9o46VWZsGZMiwqoHdYTsV6bADlOXZAMn4TuCzuramzD4ih/84AcbZIOciB8pL111SdfJj/Te/e53l9+nn356mThDhrpmqyp5cZYmP4tOpEWeRrK+1Bf0t7XOWMBAttZRh+x2fJp2rM9Ux+rcoib6XlumV/Ba5KnKJZLb1tP21jdhwG4WjuzQAeRNmuQNOa6fpU/oF2Hxbzg8tiN/6dMvOCn3aQvexDJpSv7OPvvskl+yjTtga7qm7cgbvfbTn/606CD9uev1mekebcdv6dOR5J6MvPe97y3bo0rbNW2jxuFZTNyKa3vLumfFjzTaNKMJsbXODgwDeQ2IstgUKIwDDzwgGyeT0w033Fhes/TKpUG4MxIgV1BRPDon8VEUGh7w09gdOjygKBAD7t1zz70GPOiUFwbUf//v/72sYOgLnosSk59AIBAIjDwwSnPfv+HsyAZBmaxt9K9nhh8jkFHlLKxr9YDm+5uvu8914cC5xuvgFrbxN9Q4xOsQh9+uO2p8QwlGpEGg/o1hLg8M92qkG9whdOS7vuWANBeOQWzQ77p862/rWwR1xSUw8h36cPEIL279u75Xv22wiyjmZ5DByGZ0i0da8mOljfQN2NzPzjBglp4wjH3pbI9yCwQCgbEChFkj6F1HXzBGQt40InTyC1AW7A3bBSGzjF/1wwgxZL6+Th+n79U/6vOUJwIWMWbsq8906PfEx63v1f+Z3NY36kP1qca2CDGrusWNSFOf+mFhkUkW0hn76rP169X+8DajPBr7Gmsj800CIJ31u/LJdhBmLENZqQtbSrFT/GYTqVcTIuqGXVVtJnWibpS9euBWxngQCx+Up3u0JaQpYlWc+A92lvoVPxtJGOlaxSweNpNw7mFXImxBPK6bOECcut+boVX+XFPv6rzyLKMF2lPgV0FmADlOrugE7Veda8NkkgzQNeSPDmJ/kzF6gk1NZh1kkjwJbyGNOBx0Th0f0Ff6hbqIj5yRP/fTL2SajV8nMIWtYx7xyxN5NlYweShP4qWn+AlHBwpLJ9JX4vLdlvpGNB3lOci7e8UvXjpOeYhTnulV4w7PWsspMPZAczRrj/J7LK/I16A1OIbFpmD1fWtrW/ryl7+RjYq70je/+fViXCDrQSMzk6YBU0D8NUiNjtLW8VAO3JSGBk6JuP6Zz3wmpz8tnXnmj0qHNFAlryNmSMlb86p7Ckxc8jPYELfJh8GC5xWfTj5W5AcqyEWsyA8EXgA5rRPFdKV+hvwb8OqD6OYajpscM0Sd9RfcroF2pR8ysGVc8hfOWb84nDDo7u9jt56r0ZjV9vWv8lyfr4apz9p8D3A3hvFbuFpe3OKt16AxjpqOMPykL9/KVByN+eF2ttKQAc+/3lfTb0SsyN96KM9YkR8YbsSK/KEFXdvfivxvfOMbZaWu8Q8ikJ5WnvQwklgZI06QRFY+GishSVxX5srfdnUjGdtrRT4dinhSfkglpJSV78ac7A5kVy1jhK/+mG2ClLJaVlhkllWlype9grRld4CwbBdvp6tT9rd7+EnXNhm+L2BczQ+xrF6RaurRbwvqvA3HXx7FIx/6Avepa0Sb/hfxSzYQdts6bhitoJcQlUhQdaeMgG2i71SnyEUkv/bxute9rpQrO0yZaTdI1UpCulZtlTe84Q3p2muvLfJC5yEhwZuM5EV9aWvqg0xUeRG3VdXIVt+PIM/uIQ/abK1v9SeP4qFjxSmsPI/k+lTmdUX+GWecMabkjw6xIv9Tn/rUZj92S//ecMMNRT+QHfJAb5BRckNeEeL0vXZNZurkj4WxdIcV7eRC+68TjO6ne1yXHyvn5UNcdJrxP45OvPSHcRY5o+fIGZudzMsTeTU+IZfyRxbVr3GZtqBdyYvthGzBU8dnbFJtok4MaF/Ca3fagnzKk7ahDORH/kww0Fme1XX52962gbLEjzTaNKMJO8qKfKPF5hFj+T2WifyBwB6MPmrrOOec89Oll16S/vzPP146uCuuuKKUYtu4tvStb32rGFR1Jo6yIPy5govwa+x+V+KxKnGvnF111dXpmWeWlo5LYx4opKXj/Jd/+Zei1LYHsqyWZxgs1DIJIj/QCHKhA9WO+gNZqe1pWyCtIPIDIx0MOAMmW8L9z//5P8skcB2UMhAZofoZhiDjkNvgVTsyuDLYMdiqbcY1bqs/GLoIDKunhNEWhqsdeM7+iPyxgCDytx50eRD5geEGncvurwgif3BR+8K+iHz601hMH2gbGH2d8Mpf2SKG9IXGW7ZfQyIDIlg9+UAtEiWPa4v/SMT2IvKh6lG61eF3HcM66vUq79Xfb+G5naH5Nzc5r2XN7ZozMgvJhrxiy9SwNYx0udWntLirX0UNZ/s9ZJmPELPx3TOWobwa6wiM7Wv5kSeEqHrxkWb6yHWo5ex+1xGc+BArn5GbNQ7xuse5ygZ/fo3pNvvVuhG3azUu8TbmsR4gLyMZns3ElA9w0z34mpr3HR3qq35nw3YzmyLyQb2rb3VaZaSx7qHWvd+17qusub/61TLm71APiHEyZuW/c71W43T43ShnfuMItAP6o16r9zWmIW2HSQd1jsg3+VUnb4RvlHd+NT754W58BmHqsw+X3pKHIPKDyB+V0BDNoFoVYC/Azs7W9O1v/1c69tjD02te85r03dP/K+264MT06GOPpt/60MnpHe84pSgJpDShN5jUiPsCAsVKEMrt//v//jobjvPLXoO5LHtDbB5ZeErDthf+hz70oV7foUWW1ZL3wQIFIb4g8gONIBdB5AcCL6AS3Fb02OuVkWjFhtUjVoroe3LfXPoVq5qsCvnKV75SBlj19U2DCK9uGtQyLK0IQfwbgInH/qcvf/nLNwyihgP1OYPIDyJ/S0GXB5EfGG4EkT+00Ef0R+Rfdtll5cw21KepC0SK/lFfoh6siqyrkRH49IY+T1jX9JV0yEjF9iTyhwv0t3qp5Ne2YDDjGiuo+suYf1OoZatct3UstqNCWbLXTRzSM8rLMVZgfA3nnHPOZon8oUYt+y2V1VpfA9UftV3AaG8bniOI/Ngjf9Qh10n6whe+UF5nYdyZ0T/wwP2LEr755lvKKzfrsnG+9Jmn0pKld6SLL7m0kCpeI0ScWA3itZ7+MDHH6XWbuq8XQ3RLScSqkL785S+XGfFAIBAI7NiwQsqr5Ehe/RHSAQFv0lifg4CoKwq9jlr3mGWIWRmD1EdeWH0vDJLDq/BWqOi/xLcl/VAgEAgEAiMBPrDpQJq9+c1vLqtgTXzbIsTbZ4gkE9omrN/4xjeWj5u/7GUvSyeccELZ91ufqT8MDC8QX8bhg2GLDGZcYwXKy7E51LIdzUTl9gSb20Sk81g4PCtSe6SADtgaWXXfluiP2i6ibQQGC0HkbyG8dmlbHStjKCGrN9rb2wrxvnz5irLX1pe+9B/prz/5ofSZz/xt+o0P/kZPY0Wu5/CtvTNXXb1KoyoBR2f+Xf0ouYMPPig9++xzhXzZEkUBFCViBpm/pfcGAoFAYHTAKhYEhD1jf/d3f7esun/Tm96U3vnOd5Z+CWGBuHjpS19aiAh9g4/UnXLKKYWoeMlLXlLIjV/7tV8r9/lta7Z3vOMd5eN0rlmx6C2vkQLPMNYwkgY9gUAgMFrRuIKQu66QrKjX+Te6m8MFAoFAIBAIDBdiZLgFQGR89atfLa9mVqPOdgWLFz+R9tprz3w9lY9YLFq0WzruuBPSq1/9mkKerFyxIj326KOpMwd44vHHy7Y5jz7ycNk25uklS8pvpHsroxHZn4+6mtLqyEMOOXirSBSTAWeffXZ51TQQCAQCOyZMLNsv1ttbVthbgW+1PX9vhFlpj4x3Tf+C4HedvzOC3wp891uB736HcMKIZ6RAX+iDeXUP1rFweP2anRAIBAKBQCAQCAQCgbENywualxiU37FH/q8CSW9P/Py8G1bH9XwE6S1p+vQ56WtfOy3tt9+i9PWvfy0tWrR7uQ7C+7r6jBnTS/jW1nHFb9w4EwE9e3m3tbWX/fBbWl6YW0H0f+xjH0u77rpb+v73v1dWXm7pihDpve997yt76w4lvCYUe+QHhhrkwpZWm1qdSlZij/xAYMeCiem77rorvetd7yr9jd9jBXSR7xcg82OP/C2H8os98gPDDbZLXeENsUf+4EKfQD/+3u/9Xrr00p5tTccS/uAP/iB95zvf2aH3yA8EdhToC+oe+XWRzVhBtWmN00fCHvmBLYc6JLeNNs1oQuyRPwZhSx0fSWpUtgT47rvvyQNE+9lPT/fee39ZXe+r+hWM7zlzd0pLnxmfOrtmpEmTp6Wu7tnp6adnpJbWXdLcebulmbMWpEcf607Llr1APk6aNDHtv//+afnyZWVl5NYQk/J3ySWXlA8ZBgKBQCAw2pFto7Iyfywd2SjsffpAIBAI9AXkAkLItqePPPLImDp8pNfzBwKB0Y1N2X38Kh/k3Bym8fqWoq/4msH+DgQCIwN6/OZev/yOFfkbw973b3/724txmJ+r17dHYfr9l3/5ifSFL3w53XXX7ekf/uFv06//+q+XLQkqOju70+KnrLxPadas1vTcs11p6dPdacq0ljRjRkuaMKEll3Vnmjy5Jc2eZc/GHoV62WWXpS9+8d/TxIkT0sUXX7xVewNb9fOZz3ym7IE8VKDYY0V+YKhBLmJFfiAw9tC4Ih9RszV94WgFXZTtsLLVXqzI33Iov1iRHxhuxIr8oYU+4rbbbkuvec1r0kEHHTTm2vodd9xRdN3Pf/7zWJGfMZZ1/baOfwJDD31B84r8yiktXLiw/DZBt2bNmtKu/Ubue9PIVprGp7bCxE8tW7as6D/1rp9x8BPevQ7XnEEafuNuajuR9pw5c8qCVbqjyhB/Yfx23mOPPQoX5l7PwF8Y7hrX5iAfsSJ/dEMdxor84V+Rr0X3tOoXUH4Hkb8xLrzwwvRHf/RHRdFURViRnz/9/u//fjai7ssK6afpta99WfrMZ/6l7DFMsUKu0HwfV3Nx+9Btr7MJ0nnwwQfT//7fn0y7774o/ed//udWNRj58xHDf/3Xf+31GXxkWQ0iPzDkIBcMlE0ZC2QliPxAYMeCvjSI/CDytwbKL4j8wHCD7dJowweRP7jQRyDyX/GKV6S5c+f2+o4deBvcuPNnP/vZmCfy2f/ejNfGxhroiZkzZxZdEfpi5EJf0EzkI95333339Jd/+ZdFhk8//fRi+6lHWzTvueee5b4jjzyyTNgdffTR6frrry/1jS9C8L/2ta8t5P+XvvSldOKJJ5Y2gNQXr+86wo033li+j2XCU/8iPHzgAx8oE4Lnn39++a4WO1t60nb/448/no455pgSxoSC71Xpm3xj6+677+753uMAbCw2WRD5oxvqMIj8IPJHDf7lX/6lrGontM3Iz10Mx332OSB9/vP/nhYsmJ1+8IPvlUEjw5Kiah3Xmro6e2Ytu7p66mBc9qPwNAZwrbrXrO3MCrQ1dXd1pL/5m79Jzz+/Il1zzdVFSW5po5G/vfbaK/3oRz8qhORQIMtqEPmBIQe5CCI/EBh72BSR7zfU/lMf2difNkN/VfvRGoa+cPCvuqNRzwjXqAO4a/jqbuzPQTr8HPXexvugMd7+8ss/iPyth/ILIj8w3Agif2hRifyTTz457bTTTr2+YwdINrbqWCfy2QY33XRT+sM//MNCVDbaCjs66If7778//dmf/Vl6+ctfvpF9ERhZ0Bf0ReTjaz7+8Y8X8p3Nt++++5Zts3wjacGCBYUw99YRsl390nVW0j/xxBOF0DduxRUh+N/61reWdLQBYekH/c4Xv/jFks7b3va2QuKLW/oTJkwodivuxW8Tosh/usQ1fRC3eKQze/bsMmEmDW3ue9/7XtHDm4O8BJE/uqEOyW2jTTOaEET+GCLy83OV1fjnnntuUWLNyPVUXm96z3vel/71X09Nzz77VPrSl76YXvziF2dFOC49s+z5tHr12tTWPi5NHD/BGvw0LivI8ePb05xZM0pjaMbTz60u16dPbktnn31O+uEPf5QVXkf6xS9+UZTploCipHS/8pWvlNnboYAyCCI/MNQgF0HkBwLbhtrnjCaZ7o/Ipwve8IY3lO/IGEgwKn0X5s1vfnPZmq7qAs8qrPuQHMJyG8QY/LzkJS8p4bx9Z+AkvRtuuKGUlTiznVP8DLScX//61xf3L3/5yxKvV6GRbXW/YnjpS19aViwZrInDYRWUPu32228vusWgqj6L+GrdNIJfEPlbD+UXRH5guBFE/tCCXu6LyFdmxihVzzaCzlcHzeMqupiu6Etf1PjUpXulKx5+wvPvS483ot7fiBqHe/vK6+awIxL5ylN51D58IFAf+v7//b//d/rxj39c+tyx1G5++7d/O11++eWFILWqmiyPBKhH9aku1OdYh/bf34p8nBP+g85nn7IpfevQangEP+LehA1Z16+Q8TvvvLOs2Ef6P/DAA2XVPXtZudMF99xzT1k5r+xxSWxeK/vZ1Qh7W+qwMd37J3/yJ+nTn/50OvDAA9PBBx9cJgauvvrqkr705NMbAW984xtLevonEwc+tt0XT9YMeRrNRH7Ick8ZkNvmfmwgYPu4fyCyMlTYUYh8pd9sbZTfueGW88qVK1tWrVrVkvPSkjPYMm3atHJ28MuJlXPOyAZ/R36g/Kw9+PCHP/wxcY1WUG7//u//XpRVfpxe3xdAGJEBiPt77rkvK9xHc/kdkI444oiiXGdMm1oI+1kzpqcpkyem6VOnpKlTJqVJE18wHHOF97p64ps0sT2157QkNznfc+aZP86G6fyiuLcGGs3xxx9fjLuhgPwPprGgDMSHPPH6ViAA5ILh4rwpkJ3GNrU1kIaVCFm3DWtnEwgMFsg0eSbX3OQ699e9V0c2GItWDWVDpuRZX6yN6x/++I//uJAYyBir0PgZmFgtdMoppxRi3oAFwYPwf//731/6dauRhLWS6YQTTkiHHXZYWrRoUQmjv/SasgHGq1/96rInqEHNPvvsU15XFr/+1CS+PUPf8573bBjQvO51rytxHXvssYzFQq5IH7HvHvGJWzjxOJ900kllQNX8QX2ousikhG38DOJGS72NBCg/deO7RdyBwHCA7dLYtvPYaUDt2IrH5kmAwK9C+Zjw/MY3vlF0Lihf+tLkpz5Cn1EPdiLSzESwidU6hnGm991r/2lhuesZsea6hR76G/2HPuO4444rK2alI456j4Pe8RvIgPB0Ur2OxNIX6C9MCiP46jVHX2PPZlTiT/8mrpreaAVbBWmpfOlu9assNgfhTNz6rtz73ve+QjYp/7FymLy47rrr0m/91m8Ve2QkyEGVX4Q0WVefo10+txXKhHx/85vfLLJe6w9fY/LWIpAf/OAHxS60lc0tt9xS5Pqiiy4qByLcbhAWadJfiHaLT5DuwiLkEfMI/auuuqroFGS+Ff3uFZffV1xxRQmPiHcNb0V/2NZH23P/lVdeWcK77rdDXZo4pa/233//0t74DURXeU79mvasjdKHo0Ue6BfclPLUp9MvA9FLOxrUIbkdSH03g2x/4QtfKP3oli5OHiyceuqpF+dTd34OgrfhnA/nDUevf7+/65HLoSvLQXc+O5V46u8s2xuds+3XneWoO5ef34VDzrLUrU3wI2Nkq3JPlQfVzpsRRP4AYG8wRH5+riK4zeBngH3QQQfmMCkP+CmyrrJPmYpYmxv82rXr0/pstE+cML6Ebz5qPNW97Nnu9JV/XZ1mzByXFuzSlpXl7aVCKVIVXsMNBMLqGMykMhKHArmaS+fsrGGT4YG4CSu3sm101+vK1Z6PrjWH2ZS7MfxguMUt38PtVpfKZSjcZHUo3BWD4RZvVWz9QRiQPgw0fuHd2+gm02RAR6Os+gpT3eqphhkONxnZUrdnGwq3Y3u4pel5BtutXpXtcLnJ1EDcMBA3aDf8Pv/5z6ff+Z3fSWeffXaZbEZce25oDD9UbnnwDFvq1gaRNI1EPig34axEQthYZWRwYkWm/s7ZIMH9BhlWqCE8rM5Gwovf3qL6a7/5G6R88IMfLCuckPYMdQMaEwle10fuiMdgVBlamYTckSeGqX5aXO4zgBK3yQRpORA4hx9+eMmTeAwKEHUIIAf5boTnr0S+SQuDc359tYnBcivXgbSVbXF7BuUxWG5y0Jeb7KtzxjD35sIP1A39uWEkuuXRM2yJW50p55HoJq/cZGp7uB1b6262XRD5nsUhjHT6crP5ya466S/MtrrFrTyH2k2mtsVd0ZdbGSOuvva1r20g8hHqtpB4+9vfXvoHZLvwtqYwAYsIc1YWJnrpcROuzgiqSs47rJw1HkHgH3rooaVP+D//5/+UfsFkgDEWtxWs7pO2yVwTwBZhmdyVnj7pIx/5SBmXKZtDDjmk9A++ZSaMMad+yGSyejfxi5yjw5RFf6hEvr5LfqXvuaSh/Ppyq/+hcKuLbXHrO5HRJshtbYvIVGcmwLUbYRw1fKNb/Zp4R3a6X1xjCWeeeWYhyth5SFllMtC2taVu2JxbGmTjr//6r4v98u1vf7vYa80fpN6SOKHZLV/SGmx3levBdmurbMlmIl+7ZUNagS8su5de0Q+wYZF9Fnzwu/baa4vNWLkhEwN+C6Pe6Sg6sd7jOvtTG6Iv3MeulA9h+Dm80SKsNJD+/ISjm+pBfwkjn96CRfLL/0AgnPQ8H31V35Z0aMfKY1vc4hf3YLnJArc0PLu29clPfrK8/WQRr7dsB9rOBuKGRjeMRHctoy2FiSJy+v3vf7/0kcNB5geRnw9+OZEdnsg36/Zf//VfpVFtSmAV+EEHHZyuv/7GbOg9ld75zneUwXlXd0t66uln0/MrVpaV+SCeetTfFdLJ9ZoWP96Vxmf7Y4+9JmZl+nSZmaV8KdNN5aMvuI/hyZD98pe/XFYVUr7cVqp4xv/4j/8obrO4X/3qV8sM63333Ze+/vWvl1WElLQOh1GK4DjttNOKm2Bxu/fWW29N3/3ud0t4WwAgXYRBjNg7jdusr2dh7JpBtnc/N8KDAcLttUBhxGmG+Sc/+UnJv87Ca1jcjLSf/vSnxfD1mhgyhdu+ceedd15x2w7pggsuKKQJhWvbBP7iMHvMX9zi5T7rrLPKVgnIGfkyU83/hz/8YZmRdi/FI9/8PZ+OlPv0008vhic3efHMwnvVTFnIsw8WKyPub33rW6XsGPHKT5l6dmVsBp7byiIGGYNHPRgMKFv1w1BVPtzqj1sdqleDArP0FOXee+9d6tlAwICG22y/wYuP4RiUIPOyUisdPgKKW8duIMOt40eGmdBiDBgkcJNFgxJuiohyFh4xZTUsf7KHeLInX9YNZSDETYYRYdyUFgNdeB1DdWtTFDy3s9/iN0gTDikpvqxmyuxufYXWh525pSe89BlH4pFHBgh/na9nUA6eiRLlZlQwXJSVFVuemb+y0YlXf2WnnJWlMuVmoDKe1IWyVx/c2hwjTH2pK/VnwKmdaXPc2of6VtfqHCFJBshCbXPkxaCGmxyRJ3JF1sgZI5n8kj9yyE0uyadVweSVG8mpzWmX/Mm3Nmf7LUYc+RdGe9Au+Wsz2gh/7Q8ZzF/70764tb/6ESbtT1sUnp+2KC3tVlvkry1qf/KpLdb2Jx16wHNJv7Y/bVH78+zy69mUiXZJt3Brl7ZOUW6e1WoTZas8tDltSLtUjsqfm35TL8pPHWhD2qi6UY/KG+HLrY2qS+1J/ahjMsCt7smGOmQAkxl1TlaQtmSBDGlb5EU707a4yRw5JF9kUdsid2TUK7FkluySYbJsoolO5ybrtZ1pA4iIf/u3fyttSzsTp+f9xCc+Ue4jWw6GvPZmsKsNcWtr2pZ2xpjgXydUazvTfrmlA9zyIh/ulUdtjr92Ridwa1ueR948N4KaW3loZ9zKic7xLHSTMlIO+lPyRado8yBPCBS/1S259/zazzXXXFPKhOypI/UnLhDWPWRMnQmnjQmjLMikZ1Q+6sVv9aluyTHQu+RMPMLKM90tbeVltZLrnpFMeW73KhtpeQ5tkGzQH2SKbNRnqxB3JfKVpXajzSkL8i5Ov7m1N22T7Htu+eavnWlb/LVbz82tzennuLUzbUv+tTO6gru2LW76QhlrT9oWncNf2/K8/LUhsqadaUPKhL82ROb4ayv6M+1PW1Hu2h89uKn+jB4lC/ozbm3CQFe7JC8GnnQwt7LULsmd8pUut/rULsmpciVv+gzlSz65yau2+LnPfa7IsXL/7Gc/W+RbW+QGMs+tzsgQN5nURhBQ+iztiL92xSDnJssO7trmpFXbHLd2K67an5EDedbm5MOz6GdrO6t9mzYkj/pk5SDvnpO79m10hjanPShDZVD7NmVT+zbtT9mpC2WprdBn3OpG3SlvdaZO6UR1SUeqE3Ws3tWVNkAe1C2ZICfqlqzQwWRBf0aW1BW9TcbITrMNSSbJnTauHyDj2hK55SbT5Fk/oT/Tn3BfeumlReb1JdqJdsFm0x8125P8tSf9mD7JWZvjr78Tjr84xMWtbekn9XNWxtb+TF60ORN9nkOexKOvkm9h+Hue6t9oWyoXYZRTo22pjDyXshTGsytjZapNK/uqk9SJfk4Zqjf2vTJXb/o57tr+1It6ppPUXW2L6pSbHKh3MlLtSbKjLZIZbvYkueImZ+RN20X+0P3krtqT/MkoWeWvLZJn7mpPcpN17Yz80vPaBbe2ob0Io9wqka+diNMbV/pT7VR/4bo2ou3JM5JYvskdPa49ukc7sOpe+Xke5ULPIe6rva98xE33eBbl6BltO6FuxKtu6G3pKC/Pw4alD5D75EKfpH9RZkh894lbnul4z+s5+4N27XmkSd7VszpWj/zUvXonO/ofbvmXLhkgX+SJzJBfup1tyU3myJhn0P60Ue5Ge1LfQYa5tb9qT5J77ZK/9qBdcDfbk9oRt7aorWkz2hsdqqzVBb0v/9qn9idv2mJtf7Wfo5fFPxaJfGWqLsgvedI+tC2yqX3oF8ir/kDb0g6E0ba0Of0HWSOj+hUyp83xr30bf/LLztEnqSOyzK28yaF+y9nx93//9yUNekA6bCkTVPo58dV+TjrknVv68lHtSfYSt/yKg9tzeAbualvK26ZsS+3Es2tftf9TTtovPUSv0Qnc+jN5pee4G8d2bEP6kk4wntOGtFf9H7d+rvZ/3Po/7Yl+oJPpb89irOX5a9t29rv6KQ9H9a9+4Fma/WtYaPzdfN3ReF89syGUYw1bj8b762+HsqXvNqefGiGc+pG+eqAn6JQ6buOmi7jpHTqKu/Ztzf2Z8la+tW9r5kqUuXrTt3Hrk/Rn6qXRnmx0k4tG25L+4W/LLvkzRtMn6HdOPPHEIoPVtiSDrpND7mpbCqN8yS23sRgZ4Cbf5JzsK0ttgb+yYvPxV+61zWl/+jH++iv2JH/tr47n+Gmb3Nqn8tYO3CcuzyU+4K62pbYqfe2Mmz6tvIn8qjtlWNuZe7n1ncJoc2SCW5tTTspWXVfb0uS6uqHLX/nKV5Y8bE/kvAWRzy8nssMT+QxZgwb1okH1Bf6E+VWvemXuQK/NQrs0HXvsi4qymTx5Upo9a/oGEl88G8Wlvnvd/CHXYTro0HFp4W6UZY/CvvzyK7LS2bcMhFXylkBjlBcrSjRODUsD12i5NXr+Gh+3DrT6czf6c1MaGnZ1u5exzC0MhdXoJozCVzdlxahodtcw7pU38TqEofj4N4anUPhzS7+GafZ3NLtdb3ZrONzu78u/uqVfw3DLU/Xnrv6eh9sz1TDVXf2VUaNbGAqx+nMrg778q1s9KC/Pzr+6G/2rWz02+qvnZv/qZmBxC1Pd/Cl+8lPdNUyjW+dWw3Az5hrdwuhMqv+m3JRYdcufjpJbXDUebv7uq/nkdk0YbmGqf6NbGG75rf7c2pk4+VV/cXvOvtzKqNGtLrjlmb/ybnTX8NzqWHj1Wd39+XOre25y0eiubWig7tqeBuJmODT613ZW3bV9NLuFcS+/6m5sT87Vzd89m/KXPrdy4K7trD+3Z232V7aN/tzKt9Fdw1S3Mt6cP7d6re7anqp/s1v99+UWprYn/txksj9/bjJKnqu70Z+M618YxQzG3E+XAYvVMAYx7qvtzNmh3Ti7VttQo391V//a/mqbk36zW/zc8lT9q9szeZ6+3MrXGQkg/9m0KH2ovs0gHxnGyEE+MA7JGPIAsYa0MHBiuOs/EREIDqSZgRkjygDCwKEeiBeH+JAY+ndlhpRg3NcwSB0kmAln4RjyZNN1ZJxBAXfNGxJHOIMR97jXAMSAhOHbV99e7QuDgY997GNl8OH5pKN9kNlGd2031V3bSm1zffk3u8kvt/bO3dye+Fd3X+2s0U1mm/uzxnbTV5jm8NxkR3tyb7O7trn+3GRJXLXdNLa52p7IWm1P3OSyP//aJrgb/blr/1TDVHejP3djG+Jf3dW/MUxz29qUu7anRndjO+P2PJ69uqu/clFO1V3DVLfy6MvdeC9/ddbsVg/9uWsfVt3kh5sMcav/vtzNYWr/NFA3WSfnzW7tg7v2Q83+3M6N/o7GvqrZXxlLl1t+5Zse4ydP9V5u91Z/RJUBsHga/Ws8jW5xCsPd3J6Eqe5mf3WoPpQnf25hmv37a3+N/Vxzu+Tf6Bam0b+2v+omS43+yq22Lf6N7tqeuMWJVDJRwx/0efy1HyQOXeua/gC5QKci3irBQKe7hrTwDAhpeXBNPvQVyGt9Jp0ubmQgfY6UqeROneDlFr+FCLXM5UOc+h4EuzDIQnUh/yYsXUMs6qf0Z/oQ9bQp6HukoU9HLtY2UdtZdSsrcVV/bmlXNxlq9BdPX2Gqf6ObLDb6V3nn35dbO2n0J//czvpWZa1c1eNv/uZvFsJMvPXe2rac/eYWn3oaq0S+CRA2j2341HVtx321M/WpPVX/vtoZuddm+mpzjf7CV399Fndtu+rDRKn2Rp+xYd773vduiF/Yxn6Ou/pLo9ntPvEO1O35PHP1r+7qL8+bcmvn3HQC/abcqn+zW5jathrDN7u1J8/JJmf39ccvbQp0zGBDPrYkL8JWe3ygEJau067pK+Q6m5buoAfIbLNbu+dWfsqu+ld39acDGsNwq49Gt/Jv9Fe31Z+7uQ/jJi/yYJLAhCEYf5x88snpZS97Wcl/DU8euMkQeXMvN/9GtzBktIbZlLu2p9r+qpsMiae6m8Pw87s5TPWv7urvPukJ39jmGv3li1s/6D7PXMN4Nu1YmOrf7FbW6gmJb1tR9b+9saMQ+Vpdc8srv+Njty8ASWAPL4P4XIG9vhtDnbn20Y9+LJ199rnpqquuzJ3o76Q//dM/LQpgfYePGHXlc0chISZMGJ+WLV+RKykbL7NnbrRffl9QyT4+MnPm7HT++T/PA/6+9+vvD+7/wAc+kP7v//2/vT6DDwKoDOTLM27OTQE69+UmxAxpK8Qoaqj+7h9tbvDsjW5Kn9yMZrc24dgSt/uVw9a4QUexOTAUlX29V35hS9zqj/xRpjoy/uIEz7I1bnHWeAbDbYDTXxsaarf05WOkukE9DsStfsjKcLvJuGMo3AwCgyivNxs4MEg/9alPlW1f6Fr5UCbCbsotTvnty63sYSjcjD8De3vek3vXNgX3yTeZ2J5QTtKVvrYyGOmLw+QBwkcZWCEknf5kf6jdoN77c6sbMjFS3HQ48qySrv2FV6aObXFLS3yNbmkIM9Ru9QPby00myLg8DIdbHpy3xL0puR5qNx3WCHqXnGzuXoSugS8/z9EYBpSJOiEHo81d283WusWlHKofQh2poq1XKLPa7oWr4UFZygtShduEaS3jKjNg9bBVo96ksEqcHcrO1MZrPrgrxMnP+I8/W5Ib+UGPk4WabpUDcRqr8Ze2wXslu6QlT5uCCQC2qtXsVq/q793jeT1HdVe7cUvdDvEMhVs68lfdyszk9l/8xV+UyRfbDnmbUHkpi+bwjW517U20xo/dVqhfkzLak3uUFyhnbuVPjhzNUE/SqPUiLkSjZ9hSmHRRrsjGwYaP3Z511llFVk1QAfly9NWGhsLd2C5r27Aq2GppRN/f/u3flu2noLYV9/bnVu4w0tyeUT7JEjnYErcysZDDamT6YGvkaLTC81vkQj68UeNNHG5QPsq1upU3ORgJbgcdQbd4S8obAN42QVBDf/d6NsdguMXb2La2h9tzQKNbfsjw1sityW9bE5kEefOb39zru32RZW6H+Ngtq6DZMii/g8h/AVbvmTkm1JRPf2BcvO99702LFz+bzjzzrPSiFx1aXklBRHd0IvIN7myb05ImjG9Py55fmVpzfNOmTUm5pHpj2Rg1PYrDK1nXXntdHpA+VGbbc/mWawOB+816/s3f/E2vz+DCszEaBwueW3yMHSstcoPovRIYyyAXmzN4yArZ0V63BdJi8Bs4MPBDBgOjHdoNXW2Vn8GUlRW53+69OrLBYLRS8l3velfJ85b0f9sbdMWmbIUthbgqkW9Vv9Vso6XeRgKUn9fg2WKb6jsCgaEE28VAuAIxOJB27C2eunIw7JD+oY8w0YkcaCTyYXPlVq836u2qx53pDUQ7Ape78dqmUK/XexrvazxDDdv4u7rreVOoRD5izLYSo72P0MdrI0gf9cl2qWW0KZADb841E/nutSWGtmTFLfvHOIGNbysa2xuZNKirpm0TgbQ3nqgTMAhy3zewZcRhhx1W+mJv0iHyjFeB28SNfLvHdVteSQcBrJ5MOKkjbxEYn1fZssK1UUdsDRD5dVsvW15V0nm4oV7YMcpBeY51G0Y9e9vGd52UzUDa+I4Cz6qNaONWt2t7o0Ue6HL59xaVBVGegW4aa1AG2vLW6CsLa0ximXQfLuwoRH6MaAYAHexAFezdd9+T9t13r2JM3XHHXcUAp5ysuJ8yeVKaNnXyhtX3s2ZMSzPz0drSoxT6Oio0FqtBdIJ1hn1LkAVqw6sZgUAgEBh7MGhlhFpFYqA62gZS+jGDUueRfNS8DuYRCAQCga1DX+OrxkO/6Gj2q2c6uJL4Nb563tRR461hG+NsPDeGbfxd3WMR+noEp8VcnQMk8TcH42fxessF2W/PbeS8BXvetEDe25IPse9sf3PfyTChIC9IeFv2yIstNqz8t62fbWOE9V0AK/VtpcTPdn4IS3FbgGdfdASWsbzf9u22/Z98ILd25LpmbyI+cSqjzfYcCrDHvdFhtwSLxsjWWDm0C+1kNEK9OWzhRUfTTYEtAz08nCT+jgQ9RnOvUX7HivwXYNbNB4rqa4r9Qcc+ffq09Md//Cfp7//+n9OTTz6W/v3fP59e//o3lGvrc1v3wdtVq9YUQn9d7sg6szJob2tLixbaf3rTs1peQ7ItAsXvg0JbAnn3Gstv/dZv9foMLigyaQwWlLP4YkV+oBHkIlbkBwJjD9meKKuXPvShD5VXxnfkAW9fqPrH3sv2k4yB8MBBVmJFfmC4ESvyhxaIVnvc+3isieqxBuTYjrQif2tBDvpaka88+CMS69jS2VZ19h72lqIFb8rROBv81mZ9X65+68Aqex8+1S4R094WwBP4bUW9PZ+t7EfwI/vANfkyiWDFv7GFNPiLy8TCS1/60l95k2RrMFJX5Ad+FWTLmxsmc+zqMJbsWn2Z7cZsW6YtbOuYPbB9QVa3dkX+SEBsrTOGiHwd/bvf/e7yWn9+pl7fvqHD/PjHP172yb/uuuvTO97xpvR3f/f/inGVCyStXbM2tY5rTePb2lNL6wtFnyu8KLHmQWZVbBqKMP/8z5/K+bg7Pfzwg2V7hM3lB9ynwdkP2T6DQ4Esq0HkB4Yc5CKI/EBgbEKb9IHYP/7jPy7usQbPbEVfXVUYGBiUWxD5geFGEPlDC0SpcZqtdZTtWCsrK1yNl3xAMIj8XyXywUp4K+TZ9uz6+nFMbuNY/ap2arsbW+Ig8q0gd0a0Oowt3COMMbg2rY8R3v221kHOSkefwx/IJMLSojzp1ZXpwpoQkK54txVB5I8usEnUOxkaSzqrPq82Ff3a6IP6CyI/iPxRgVwPhZzXMZo93BRyGZQPN7S3T0rf+Ma30j77LEo//OEPygx86aCz4K9bt750rBpBjyJjeLSVffP7wjPLVqfultY0e9r4MsP/uc/9a/lY7kUXXVQM+81B/qXvIzP26WuEfOhEHNsCaQSRHxhqkAvG7qbklawEkR8I7HjQJrX9sdwWt1WvjUWQmyDyA8MNtkvjoDeI/MGFdm4s8rWvfa18TBNBxG80ozH/zXWvL2jUZ657E+G73/3umP6OirF2f0R+BTlpbIs7EoLIDwQCQw19UxD5QeSPGvzbv/1b+od/+IcitJuCDvPAAw9Ir33tG9JnPvOv2dBal0477RuFQG9vH5/WrutIa7Jx+dxzz6d5c2el5c+vKCT+jGlT04zpUzcYbVkAyuF3R1d36siiNbG95+MaH//4n6Z58+aWffsGMqiXp3322SedeeaZG+V/5cqV5cNQ/Bg+Bgr1NcAtRZbVIPIDQw5yEUR+IBAIBAYKujyI/MD2AhnL459iFzsqNkXkk1H3CS9MHQM4mol84eoZGtMY61COysP2J8potMPiMbLkWawAZ9d6RpMUVnpbye03CEN2LNxqlLOxhoEQ+cON+kbA5jiFrUEQ+YFAYKih36G/RmtfEx+7HWPIFV72z9scOciwfuKJJ7PB3VaMh2XLlpev0+e6zJ32lDRn9oy0cMG8dPABe6X5c2emffbcLe2+687lo7fN0Egc7eNa06TxPR89YqDJy/r1HQMmF+X58MMP/xWDwT6A9uOTZwahSYK7776792ogEAgEAoFAIBAYCNjTttS48MILi03N7nYgF5sHvJWkdR0xa7KJ3xNPPFG+B4LoR/67F4nvmvgtcHHYXlNYYwPXhHGIz2/31XO95vB7R4UxkXI2trEwabQfJh8tZmp+Hr/5N/rVsGOZxN8ckNrGxNrNI488Un5b+ENufMwYtDuHcBa8mUCpE27OtjC65ZZbytn9wnDfeOON5XedcBFf5Qz4/+QnP0nf//73y9Y6PqarjUvXgjr3BAKBQCCwJdDb97ki/+CDDy7n3EG15A6qpbOzsyV3SC3Tpk0rZwe/bBSWczZGN/g7siGR7c0efPjDH/6YuEYz7GvnC/Rm0fMj9fr+KhjUOu9jjjkmPfXU09lYeCob4u3pla98ZSHeN8bGRe/eCm5HLstyVLezPFx++RXZYJtXDJHNGW3u+9jHPlY+6FPBeGBMGESIz5khWPdY3FKIj6EyWPCc4jO4sTdhIADkwiDUeVMgO2RyWyAN7UHbMPgNBAKBwOgDXb58+fKU7dfN9h2BwNaCbLHHv/jFLxYS30e57cl9/vnnFwLwe9/7XiENbYt5ySWXlA9nwhlnnFHCW0H78MMPl61hyOv9999f3rw1prDC+LrrritbpvzjP/5jsf2vvfbaQv4fdthh5Z4HHnigfLTThxN9S8QCnR/+8IeF9EcyXnPNNeWDnRYX7bvvvpscy4x2sP92hIM8qSdu4yHjOW7yRJZM9DSGd4x1KDPtQzt7z3ves2ERG3L++uuvL2Ne7UFb0+58V8EiNh+o1Z60EX7c2pz24q0YH6XVHk0CaGs+muvNDx9YtjDOwU946btXfZlgUVcIezyAcMYojt122y2ddtpp5Qwm3ra1j/L2vfxbmW/xnzwEAoHAYIKewo+MVjvi1FNPvTifuvNzUJAbzvlw3nD0+vf7ux65HLpy/9udz04lnvo76+CNzp2dnd25n+rO5ed3mchtb2/vNinMTx9WF2BA5UHZd82IFfkDBEPAl7XrrPzmoBM95JCDc6c8Phvb1xVDnDGtbhkRjHskIWNdx89IUJEMBwaCL9jr5IV1zf3CmsG3TQ5jYPbsF16p7A/yi8A/8sgje316wCAkMO4Xt9czGf0MjkAgEAgEAoFAIDBwIM2syPcWLJsfWY8YPOuss4p970OkCD5En8N+5ldccUW6+eabC0GIYPQRTGME4djwiH5jiptuuqmMG+pWIUhIg0D3nXPOOWUioBKVyEKEHlsfse+6+LwpYDW3QWLPWDMQGDswhka0k3/kiJX1yHht86CDDiqTXcbFxuMWu9U3HLQ77UV7MsFm3I741/a0R2G1e/EZv7u+cOHCMn43thaH9urM39s02rTf8+bNK/G712RDIBAIBAIDwZhfkY8c//a3v11Wtuy5555ldUN/sEelVfk62k0R6K7p7E866aR02WVXZGN+eXrd615TVoNZAaCDrx27uHTgzowJX69HsHOLA5nPkBeeP0OCkS+OJUueLiS8+/vLj/vf/e53p9e85jW9Pj3I1VIMfYaFLYOkJe0DDzywN8SWQb6kNVjwPOKTr1iRH6ggF7EiPxAIBAIDBV0eK/ID2wNsax8cNaZ4wxveUFb6Wnxjr2p2+zvf+c50wAEHFFvbIhvfz/I27Itf/OIyBkHqeQPYKnsrgF1HJtYxwKte9ao0e/bsYpdYVS+Mw9jl6KOPLn5W7TsvWrQoHXrooSV9fo4jjjii/K4ruQMjG+qZTEG1a+mwPO4uZLPxUei0jWFs3deKfGWpzJSdiTbQBrUn7VE7s5hNeRpnI/ZrezT5ZcGbOhCfdnXwwQeX8jcO33///Utcu+++e4lPGxef69Lkh0M47rjjSj6M+d0vXnUqrN/GN9uKWJEfCASGGvRkY/802rCjrMjX+zdbAOX3WPnY7de//vVyKPP3v//96Xd/93d7r/wqdIZ//ud/Xl6P9fpbfxDX+PHt6Y/+6KPpjNN/mG6+5aZ838ez8dBVXn81e88Y+Lu/+7uy5Y5K7KnzHkNDOn4jsVUkvwoGCIP+3HPPTeec87O0ZMlT6Z577i6GSzOEZTicfvrpZYDQFxgTJhekJV+77rpr75Utg7S8OjhYoCDEZ0UTA6eWT2Bsg1wYgGoz/YGskJ1tNV6lZWUbo32g36MIBAKBwMgCXW7FJZJmU31HIDAYaLTZ6zY2FueQvUYb2zjAwbZwNMqm3+TW2Wpf23Kw5xGQ1d6v19k6/Jz5VdTr1a9er2OMwMgH+5M8qa9q16pDYzeLrxDNjXUeGB0fux1KxMduA4HAUEO/o3/qi38cDYiP3e4gaDSANmcMMbJ/8zd/c7Mz3OJZtWpNNtyXpvk7MbLG5Q71srJKp5LlhN8reYxzr956nc9vxoff9rf0im3zx2fN2mg0VtoIb5a/P+i83/GOd/RL4oMJCYMMKwG2lsQPBAKBQCAQCATGOipB76hvuVrV22xj5zFeCeNsTMHt7He9Vonbk08+uazm5c4DxOLvLJxz8731/npuvC58IBAIBAKBQGD0YswT+W9/+9sLOf+BD3ygvPK6OXjN1at66zezV35XV2fZA2/ffe1nPy1de+0NZe/7aoRbVexDWEh0r+h5jdbHbl70oheV12OPPPKIdOyxx5bX9KzCsMXHc889W14Pd3z1q18rcaxd2/eX7uVP3J4tEAgEAoFAIBAIbD8g0KGS6JuCsYFFPba9tHDIeMHbsmx+i3jsty0Oq/uNC2yfsbk4A4FAD7Qv+9gPFbRT7bwvaLP9wZu/oK3bWiEQCAQCgYHAEvTmZejl91jZWmdr4HXGD37wg+XDNP3tna0zt/f8xz72J+nznz81G91r05Ilj6W2ttayor47/+2y8y7p937v90p4BoD9Mxn9jPe6Vz4C31l83LbVWb78+RymNcf90fS9752x4ZXdirra5tOf/nR605veVNyNcN2HtRgPL3vZyzZ6DXhrYTBhYDFYUAbii611Ao0gF7G1TiAQCAQGCro8ttYJDDfYLuz/CtujWHQDZJQd7cO37A0Lefy24AeBz89YwN7dxgu2VLnnnnvKWKSMKcI+2SHB/jRGa7RryUpsrdM/+ttaR3uyla5FcxbMmQizR32dILMnvnG9N97rh6SF0758fNr+xN5ed5/68Ea8cbuFeHfeeWdZrGcxno/disu2LyyJ5AAA/itJREFUWt56P+qoo0o+jjzyyNJ2vZ1vbCtO7drb99LR9sWv7W8LYmudoQHTgZoNVbvjIup44NDv6J8abZrRhNhaZwzD1jp/+Zd/WYj6XEe9vhuDAYBgv+GG69Lv//7v5Y57t7Rgwe65815VPlL79JJn0s0335r+4A/+KF//w/Snf/pn6Z//+TPp05/+l/SZz3w2ffOb/5kr7Afp3HN/ka666tpy3HXXffne53I8C9P/+B9/XuJGNEqrEQw8H7h94xvf2OuzMXTqPvD7uc99rhgwgUAgEAgEAoFAYPsjD/rKwiALV+DBBx/cQNAiDpGI999/fyEJkYFIXXvm9zcGCQQCG0Mba2trK+TTBRdcUNrTJZdcUha2WQ3/1a9+NT300EPpwgsvLBO/xte2sAVn4S+++OJ06623lgk2H7TWDn/+85+XD94i5YXxNr7v4WnPCH5jbm/Z+PiuibvzzjuvTDQg7rVt4/CbbrqptP06sTfSgGZoHedDwgi8Hr9m/m5z80n98X3ua6IxNoJrm4q7r2v93VP9Pcum4uwLzyztTGvX+uZIr0eg1KljU/XXiFL++aj10Gcd9SMnjdhcHbjeXzz9yQY8+0xXWrO6p443Fa4Zwjr6Q3N8A5W/5jYXCDSDmDeLR/l98MEHl/PKlStbVq1a1ZKNxZaurq6WadOmlbODX+6oyjl3jhv8HePGjWut+PCHP/wxce1IsNdlLotiBDAO+loRkR+9dOiHHHJQWfm+bt36XJ6rygz9vLk7pQU7L0gLF+5W4jILbwZ/7733SocedmjZFscs/wknHJ/vPzi95CUnZfdx6dWvfmU68MD9iyGg47fyoBFIfGn9zd/8TVn90xfMnlnFIX5pDsZsmjIYzFl/5Sk+xlX9WnMgQC7IfF/trRFkh0xuC6ThLRiGf39v3gQCgUBgZIMuR36y2TbXdwQCQwW2i3FBBRI+j5d6f/XY0VbcW+lLTo0V2PFWDZ944onFXmeLICKt2jV2EKYxzsCOBfZnrd9q15INsmO7JeOj0Gkbw5j2kUceKcS5rXC1lwrEOrteu7Ei3mp936+wSh8pj0g3Pvb2lnaIzJ8zZ07xv/fee0sbtkhP21uwYEEh39VP3bIHoa9Ni9N43Mp+K/K9TS8f++yzT5kIsAIfgS9ubV5+pCVeaW8LzjzzzDJBYGX+5r7pNxAgEx9/tCM9/OD69NRi39hoSZOntKY7b1uX5u/UVohZInjX7evSjFnj8nO2pK7edaPj2lqyDLcUYmnJU51pytTWDeGJdfv4lrTs2a70xGMdaW6Oa1xrjyy7x73iQK62t7ek8ROy37jsl/+VOPMZ7SAfc+aOK4RnWw7Xmi88eN/6cv/UnJ6hoPu1E2lJf/lzXVmXtpb0S5y9aTpqcYlLHLK0enV3uujcVWlyjm/W7HG5THrCym/Np3g2uN1X45W2v/yzx61M81hW2Ozpd0mrPntvXpVPWw63jUPZQYfnUNaO229dm266dm1alstzp53b0oRc90Uf5X+Nz1rLasXzXakz19nDD3WkJVmWOjpTmp3rrtWz5+d07f5716eZWY7a2vO9vfG4VuNTHvffu67Iw7RpuZB689RYhitXdKcHcjwLdmlL3bk+S/rqJx/PLu3K9dNTX8VfXeXbpP3zn6xIU6e3prnz29IjOY/r1nWnWTkv5YGkke9pyYHdByWOnO7TSzrTZRevTgsXtZe2UdMUFh55aH167BH6uyXNnjMu3X3H+tJOJk1Szz15cA8oV/JKDu+9c11pN+Py7xkzc9vJf1U+hZF+yZfn4M6obmIjvxv552ODrAoj0FZCPTf2T6MNp5566sX51J2fQ4luOOfDecPR69/v73rkcujK/XN3PjuVeOrvrIM3Ouf+uzv3U925/PwufXnuW7q9dclPH6avqdxT5UEt6GiG2u2p4RdQfo/FrXW86mbWfa+99irCuTmop89+9rPp85//fK/S/VVhFsZx/PEI+UNyw2krBoEO3j767lNx7e0qq7tcY6yp1OaD8cFIkE8dc3Mekd6HH354+uIXv7jNhsCWglHJCBosKBfxxdY6gUaQCwPbvtpaBVkhO9tqvEorttYJBAKB0Q26PLbWCQw32C4GaBXGAWz+RpDVembDkFeEI0KOLWIsII4qx3WMEdgxoc6N9RrtWrJBdmJrnb6BAOlrax1Qbg5v1BtfKl/QnrQrftqpMnXcdttthXwXzvgboaLcGyeF3dczju9ZZGQsbhxvIgFB/+pXv7r4S0N7d1an6pN/HcuLQ7y1bW8tBntrHSrryl/6Vl93Idz3P3B8mr9zWzr/nJXpmBMmpl12bUt337kudXWmQtQ/9sj6dPRxkwqJessNawohuufe7enbX1+W3nrKtDRzVmsul9ZCkj72cEe69+51adfd29LChW3pkfz70CMnpFtvXJvz3Z322md8+v63l6e35PtWruhKa9d0pz1yXHfcsi4deOj4QqrfetPadMJLJqenn+pIv7xoVdpzn/Z0T84PMvfYEyalmXNa03VXrUkHHjwh/fTHK0p+b79lbXrj26ZmRZvS0iWd6ZDDJ6Q7bl2X678zvfK1U9KkyS3pqsvWpMVPdKTDjrR9SEo//sHz6bVvmpoOPnRCuvG6Nen+e9an6flZTAqc8JJJZbLj8UfXp2NPnFQmF9av7077HzS+hN1tUXshh6+7cnXaL5ff6vwc9921LrsnpOkzWtON165J0/L5gIN64t4tl4fMIYBPfOmkEmYbh7SDAqK54vnu9FQu64kTWtLPfrIy7bd/e9p9r/FZPrpyvaxNu+zWlnbJdXnz9WvT3vuNL+Vw793r0977tqfrr15TiG8EtmdatMf49NCD60q9HnN8rqtcn1/63LNp4aK29KLjJqbVWebIx+FHTSz1vHOWqYNzXV1zxeoiX3fetjbL1vgSFz/ycEwu/ydzvV124ar0ohzn/AXjigwuWdyRpk5rTef/dGV63ZunlGtX53vI4MGHTSgE/A+/+3w6Odf/UcdMSGf9YEV64L716ZAjJmQdMi4t3G1ceuiB9VkWWtK9ue6OOnZimYxYtqyr/JYH9W3C68Uvn1zq1CTAkcdMLPL3UPbfY6/28uzXX7OmPG9Xlw/Xp3LPSfkeExj35ee97ZY1vbLARuhORxw9scjXrNmtuW1NzDqsu7RJEOcduRxMYhya83pTLvfOzu704pdNLnE9/XRnOjzL8A1Zrjpzm9JWHrw/+z/VWeR22vStky26i15stGlGE3aUrXWUfrMFUH6PxRX5+TlKJ6uDz9nu9e0fhPi4444r93jFLlfar9wnjMPeefbBu/POO7JhcGuZVWEg2I/PPnpe7ePm77eV/F7xs/+eWXuz/YyIagQ0p8MgOOKII9JnPvOZsr/f9oZn31ZjoRHKTHwMoliRH6ggF9VY3hTIDpncFkgjVuQHAoHA6AZdHivyA8MNtkuj7W7MkcdLvb82RrVfnNn+Bsxkt97Pf1ttnMDIB/uz1nm1a8kB2TGpEyvyfxWIpf5W5CtP5Do4C+uoZcyP26FcvQ1TxxyuOdcJucZwxgji5s8t7O67757233//DXUoXGNa4q3XHLWNbysGe0U+NbPLwva0z/7j0xWXrk5rVnelW25cW1YWW4mNfH9+WVfWU12FkER0IsunTRuXfnj684UgnTHTdzxSmjypJa1fl9JTizvSNVeuSQtzOFi6pCvdftu6EvejD63PY/+Upub7EbLS6ersTrfdsq78RrxPmNCSjj2xh6i05Y2JgnN+tCId8aKJ5d6H7l+fDjtqYiHsLYpGyD6ztKsQoQccbDxnNXJLuvn6Ndk26CrXEZpWjFuRbeXy5RevTkcfMyH98qLVuU5byjWEM/L9gp+vLBMSTz3ZWVb1exvhrjt6Jg8QpEjbufPaynVvB3hz4ec/WVkYuAdz3p54tDPtnctT+sj6Q3Ner7liTYln/brudP89+Vkf7ywEM2J8JKn6885ZmW6+bm3afa/2HrI614/yufHatenQIyaWlekmReSZPDzyYEeZvDD5MiOX2R57ji9lbmLm3nvWp/0OGJ/LJNfz3HFlAsUkzF77jk935/LMaq7UpQkVsvayV03Oeq87XfXL1UUGvflhBb/6Q8xfednqQno/+nB9e0Q/m9JN11kQ252OOnZSecPjxJf2xHPJBTn8i0wMrMltMNuJyzpL+e97wIR0Q37GffdvTw/kPPJf/ERnfp6OskL+oEMnpKsuX12e7RWvnlzqe+Fu7Vk2O9Lu+fkuvmBVaRMvOXlykaVLfrEqPZvl9L4cF1L96nwvOTHxoLxWrux560S7ue3mtWXig7x6m4H8mhhas7anfR106MRcFp2lnMictrPzwracx650U64PkyETJ7aWN0geyeVgMoTMYXcnT+6Z1PK2wvNZnsnuoj3aSxltKeiqxv5ptGFHWZE/Okt/iOD1Nq/XKcCBgiB//OMfT//jf/yP0gkj2vuCylBZiEGHShNWB8u/dvwO8Tjzqx197fyl1wj3I7tPPvnk9IUvfKG8TRAIBAKBQCAQCAR2HPSMDwOBwEiGsTpOYUv4hJEMW5EgPuGt75qW9t6vPe22e3v26yor8K28tiJ/jz3bC0mPPFy9uivtk/2Rqkue6ihkr9XLSNn77l5fVnSL87lnO8uWLFZLW4mOiNxj77bU3p7SpOy/cmV36uiy2r+lrIa3onnfA8aniflsSxNvAcCzz3alFct7JjgnTm5N8+aPS+vWdqfbbl5XthgZPyGlVSvtZmChoB0QutOUnKa8T8rhEdPmPObObSvbryDtn1qMo0vpwQfWFyLf9j8mLBCgU6ePS7suas913LNSXRyL8vPvtW97mjevLd13z9o0aUprmjLFCu71hSKUJxMinpdbPOs7UiH8J0+2UC2VVdkHHDIxP2driWsQ5nYGFbYrmj4T+didbH+jDGwTo6zV7ZT8zORlTi5H9WQLnAU792yVs34t3qq7hFXWeMoVy7vy71y288alxY93FmIZ4WyC5rEsO8L1kOvtZdW7N0O6OpHIKc2a3VbepujIxWvFPQJb3qxelw/1ePMNa0oZmkyQngkE15xXrOhMS5/u2W7p7jvW5nyknMa4Ihsd67rSLru2lzclZs9pTddfvTq96PiJJe/uQbxPnzkuzZlPVnN+shx0p5Zclx2micqbIYj65/PzdWQBLjKey+7xxzrSnDnjSp5MTqj33XYfn/bdf0KZqDIJUre96cz50K5aPWuWi0OOmFgmnC6/ZHUP+Z7D2NPfCn0HWbLq3lsiJkXkb7c92tLUGbnNZDm31Y8JC8+krWmf2kJg9CJW5A8C8iOW/e7MvFtl7zVYnXcz6Q78mo+thYkAhP9v/dZvlVcIvWI5XNBxxor8wFCDXNTVMZtCrMgPBAKBANDlsSI/MNxguxgvVFhVncdLvb/6h1VazdvyBMYG2J9VZmJF/sCgnfS3In8sYLBX5FfYrgP5PHtuW5o4qTUt2LktzdupraxQd7YCfe267rSokJLthYhE3O+51/h0wMETyupi26DYgsWKa1uE2JoE+W0rnizIhczdI4ffeZf2Qljuunt7mjAR2d4z7kOsmkCYv0C7QAS3ZHd7mjq1h7Rc+nRHub5o97ayX79922fMaE075fCHHD6xkP4IZpMA+x8kT6mslpefOTltxOuChW1lFb1JAlu82H7ERIBVz1ZiI229YaAs7M0/b74yGJ/GZ/+52c8WOshepCsyHoF79PETy8p6xCvydGF2S8vzIl6RyJ77uBdPKiSy/Oy8sCf+bRzKDjqUr8kI5H17W2uZ2PAs3qaw3RB5sJ0Mwt5zCK8ulLO3K5Do6twEgPpwj0kTW8FgIG2Zg/BGbtuCyVZKJgTK7ywLt96Y9d601nT0sZNSZ05j75wGEtvkkPI02eM7Cba5Ea/teA44ZEJamGXH2yHkaO5O48oKe/vWy4ftkMS9087j0oE5rGebMo089tTTwkXjy0SPbaW8BUDlHnPCpDJBYdLB/vWIeJM902aMKyv/yR45027Es38uF5MO3i458phJ5c0E8jJtepa7XC7KqXwHIEcuT7aCIn+75zazb5b/tetSIeO1CzJI3sjSkiUdRc5sq/PEox0lPmVmex9yqK2YYFOuJpXkoUwq5Xaz6za87SGfjf3TaEPskb8D7pE/GGA82Df/rLPOKvvwqQTCPphA4OuYDzzwwPQnf/In6bWvfW3vleEDo9L2PoMFZSa+2CM/0AhyYUBL8fUHslL3Et0WSCv2yA8EAoHRDbo89sgPDDeayXhjBPb85mB7zVmzZpXxRNghYwvsT2RJo11Ln5Gd2CO/byBA7JH/yU9+Mv3kJz8p9vtYwoc+9KFC5g/WHvmNsE0I4hkBjvLqkT2r4HvctXtFRrtk9TsgMxH53V3dL6w2zn6uV3f54Gd2C9MTn/GciRnfC+m5z7BOW+g5pw358Ftc0hcX8LP6uOQpx9WT7xyHtPJ5Q5q9cUlDWG7b3Zgk2G2P9kKGCi8/ngvEW3Xxhnw25L/mtVyXJ2nne4o7p6tUhFU1l1ywqsRxzIkTy17s3PUZyqrrEQb5q2dl7plsI2MLIp97PP6kSYXcLmXe+6w9deGenjICXeEN1/TsHe87BFbi51LpuZjRKE/qxn26S0S+iQRvLsgDEt+3EWzZdFxO26ROrccqX+7P/0pdewuCDDz6cEcJt/ueuY7X9dRZlRP5VZ/C1bjUn9XrSHQozyZ8rqOe+vaGQvbIYU0wVLkUhtyJJHuVSYau7M4lV+Kpz7ihzfTGUeWn/MhhlZc0S3o5b36vXtVVJjAOPIRt0FK25bF1FNmVV3HJO5msdeB3ldWOXnneGqgf/VOjTTOasKPskU+KeiTpBZTfQeRvPXK9pUsuuSR99atfTVdffXUxuBgWhN6xNcgCUeJ16Jjf+c53pve+973lq/ojAfK1IxD50m1Mq9bXlqTfHMdgoMbZnJ+hSGtbMZRlJlwQ+YHA8GJr9M7W3BMINIIMwdbIXn9E/lDJZV/xNvsNVdqjCWOpTPoj8j0zuWSz1GdvLAdEPlsfkb+tdk1gdCGI/C1HJfL/6q/+Kp122mnlu3djCR/96EfTeeedly699NJBJ/LHCqqZsD3UbSGG8z+k6mjt+qigSkAjkAf6HIWQzmVdCepmVOK5MT7kvPCNfltThtuzjocKyt0Eg/KAvspmqKDfCSI/iPwdGrk8Skf6gx/8oBD6zzzzTPHL5VIEf3PGF4NNB5yFobxWse+++6Y3v/nN6XWve11auHBhb6iRgSyrOwSR7znUjTqSpq1V/KasXDPYAvlzXR3x465+7rHlEWOyxiecgxuEq/fxd+4LVUaq3Phd06kHf3FsCdxX425Gf3npD83xyIvnroPO/tKpcN2gpLaLxnua88ltMLypON0TRH4gMHhoboO5zy9tterDZmgrrmmD9awvoxMbUdtUX+052lugEWREvwL/P3v3AWTXcd0J/2KQQYA5gjmAOeckZkmkIkklW4FeyTa93lBeV+26dtf2Z7t2t7zB63KotS3LMmVlkYoUkyhmEswEA5jACOYIZuQwX//OTI8ehggDYMJ7M+cP3Ln33du3b4fT3af/fbq7ts/94T45g1bZIoOI/B133PF9MkuWySV33lmTLFYMVCb54Whty4TN9Fm/azsnPtqzGub6THs/2lDTvTUNpbu22rNaT0gTa0vXNJAmntU06mSsjcgng2+//XazxRZb9E2hrvGVRi+//HKcpQNdhG5VdULpORrlJdED+mfN5yTyBwZl5Y477mi+8IUvNAceeGCUuYHW3Z0OsnDvvffG+brrrmtrIl+TIFs2Jmu801/s1+afKrdXddgg8L9a3pdiV/zxwZ4Ps9reGKwp3J2Ggeab2RLWd98UWEPe0kT2RZBu1njvmd0gHXuszgeant4Bedkf8nZD/GrFuuRrY2VvIGjNh3otbsMlX9Jf+9Sq03QSkshPIn+D8OyzzzY33nhjNLCPPPJILMGD8IWS2XGGqpCVtGu23XbbZt99920OPfTQ5vjjj2+OPvroUODbEUVWO57IVxn94he/iM7UDjvsEGltA+HPfvazsbaucOhQua/jxb17yF4WH/JTOJ988slmn332ifDzxzusqeTnCy+8EG4Q/W+++WapfLvCj/5EMb+tcahzRwmTDhQyipl3v/jFLzb33Xdfc/311zfHHntsyEcpf1Gpesez4447Ltx6n39IBGff0VEWPnLmEB956LnO5kDTm/u5c+eG35Z6okB/97vfbQ4//PBIA+HpXfMrwiG+7gmrd0HHxLpfu+++e6Stjux7770XYXcIm6NeCx8/fGtNEPba4dkUkMEk8hNjHcqttWaVaeXAgLTp6taeVYaVy1rGlTllXBlVH6pn1A1Ih2eeeSb2keFGOVdGlXXvWb+81gu13FZCK5FQ12sjfvrTnzYf+tCHmv3337+vXavyon4uumZzyimnhMyRH8/Imd+PPfZYyDD59J528rbbbov2/oQTToi2xTt0tQcffLA566yzwk/uyTKZJqvrAzd33313tMEf/OAHYwDhoIMOinaSH8qQckAXoAcqG/ZY0t64fuCBB5oPfOADvb6NDsi/a6+9NnQeaaG8SwPpRDeSB9r/F198sXn66adDFznxxBOjPuB2/vz5oed0OuR/1XtAfsOll14ahziffPLJoe899dRTIY8Gn+hD1bp27733Dnk85JBDmkcffTT8POyww8KfxOiDdlGd0qrX1roiifw1Q33DeO5Tn/pU9N3Gmu6uz2kpLnXuYBH5qi1NLVFzuC5NYyCS1/1yct9vJK5lTLipye+91uvHHl0Wa6Zba76+Z5mW6k+9rkRo9Qvpet+cJc1e+0wq7em4YLXGd9lQdlkzffOetfstcwLefeTBpbEUCzK4+uulCGe5bo1LPC8fdSx8r7u57+4lsbb9nntPbB6ft7x5ZO7SZoeZE5pjT1h934UIe+97Pi3cFe4Jh+Oh8v5hR0zuud8bv/qus++3M4TzyceXN1tt3RXrvitbEf6WuATKj8ceXlba8O5YY36X3UqeeFafQ7zQcxmPStyrnDlb7uZb//R2LNVzyBFTYi39l15Y3px46rTm2aeXx/JH1tKP/QkmF896/vflYc1XYTIgs+C1FXF/mxJuVuuuq7u59y6N5W9is+WtGFn2Pitn4eqP1vJgiR7r4VdKwj2w5I89IOytEOnTe19kXZMH5777BfW7Dtf1GzVu/sTyQBPHRfkh0/YbkB5vvan/1bOpb31nUwdS1gXtjvapVafpJCSRn0T+RmPBggXRiSwZFh0XnZtKsurQUMx22WWXuN5mm22CKGl3FFkNJXOwoILg33AS+UVem2984xvRidd5t0mQPKIIySPkEyVa5+rxxx8P9zpT8pB7aaCTTnEsZSbiwL2O6G677dZccMEFzf/9v/838tnBb0Ai/Kt/9a9CBioooldffXW4obAbHPA9HTaExMc+9rEIJ0JNh1jHTgePzOgI6+AJGz+FpS4pID2FB1Fg0GLPPffsI8X56/3/+B//Y8RD2NcH7wmDQSrxJ6863WaPSDPxNnBlMIqFTE0zHRD5qxOKBJw5c2Z02sXX4AcyRVj+4A/+IAZTuFEOEB8gzawDuSaQldrh2RTIvyTyE2MZyoD652/+5m+izCqj2iekvIE67ZhBTB1FdZDyq0wjo0ztRr4h65R59YO6RzlSb/Dj3HPPjbri7//+76Oe55/6ynPl+4gjjohvJsY21MHaGe0zcuaaa66JQSJkhbaNgQRZQcwfc8wxze233x77B5Gjv/iLvwg5dE1Otd9kVRvuN3nWtmhjvXv//feH3wbeyTNdTJumzTWIUMnXtUHb/t/+238L4lX79Q//8A8RZoNhyoEBA22x9slhgMJAvEEIJLffyht9Y7S0Odr93/3d3420M7jxox/9KAYCkdcnnXRSDA5Kc/FVB6gb5Nk999wTxiwGQ+Sj+qiT00TdSD4qpIc4fec73wl9DGmvniQf5NTMW2lDNr2rjqTDSU/1Ijd0I2uBeycx+qDuk9/kPon8gUFdj8i3BK1+3FiDQWL9p8Ei8lUtSFTEoc1qbSi74PWVzb77TWomTh7X3H/Pkliv3LroS5auao4/aWpYUt99x+LYfHTLrcc3Tz9R9Lgiw93NuGbvfSc1Bx82qfnHv32r1GE9m8h618aojzy0rJk0scThuRXNYUdPaZ58bFnpU3c1h5dr66nvf/Ck5sH7lpY2vLv5wOnTyndWxn1E6vPPLi/xHh+b1sIzTy+PTT/vnL24ueDCLZo5dy5p9tl3cmwsO618FxFsM1WEsXXFH3lwWbPdDuObxcVv6+Ijn93z7R12HN9846tvN4cdNbmUQXV5V7PbHhOap59cHiTyi8+vaGYdMKl5ct6y+L73Fy/uDpL1ifK9gw+fHBvkPnDv0tjA9snHlzWHHD6leeuNlc0LsUHpuGbrbSY0e+w1sZk6TTsXUWg7qGp+cvG7zS67TmxmbGGmXMmrku7WaH+iyMfiJd3NESW9xEN6bVfSbbfdJzYvvaCPsCo2C5buNoXdc59JzZKSRp6dcPLUZoutuprbb1ncvLFgZbxvU9ebb1jUHH7klNgY+WeXvNdcf/Wi5v/8v+2b//eXb4Y8HX7UlGAtX3+15x1yOPf+nkEe33r+ueXN3DlLYyPZO29fXOSjKzY5tsns66+uKHnfNM+X8MiDgw6dHBvCPv1ETx5aZ/7FIofHf6AnbNa2X2EAoKQD4v/ll1YG8f/j77/bfOYLM5rXShjkuzyf9zC5HVfKwJLmE5+a3jwzf0XJ167SX+qK+FtS6KyzNwuZXV7kb2WRqSVLVgXxP63kv7g/O395YwPgV8s9m+++UWRlYnnP+9uXdH3x+ZURrpWlaD00d0nsMRCDWN3jYsBDuh/SO2g0FNDuaJ9adZpOwmgh8lPzGwEgO/faa68gI3Xwfuu3fqv5d//u30VHx7r3Ojqsm5GbnUDijyZQfhxmP1AAkQMsxnSWEPQ64rvuumsQ6g6WUiynVGTyColeiaj6Dj+cVXq1s8Vv7/NvTUo4ZV0njlWfTq0w+C5SXEcXyeB7KlEKPZk6+OCDw0Lf9xHPwoaIFjbEBbJAR5DlGxJDh5A/OsvCg1BDontvQzoGwuEbyHrkgzjxT0cTmY/wQ7aQaZaUBrIcOqiljotra8Ai+cB902H5ZSBCOnInXPxgVel3IpEYHiCMlEd1lrPZPsq3usdRFKKoW5RPg4PqF/WUoygpMTCnXKuHvIeQQJqqg1wrz9yqJ5V9dZT6oNaXibGNohBHm3rGGWdEO4hg10bWdlQ7gawge7Ud8Zv8IM7Be9oQ+xc5Q22nyJ5vuF/bM+2SthRZpg3i7/raRc+95x0W/XPmzIk2WliR9L5hYMB97S1ylrzzXznS/mr3N6T9bXco/3QkOoq4IZnck8aMD+STegPxhsimf9GP1Q3qBToKgwBp5xhtECdxRMiSX/JBX1LHkt2XXnopnkkT6SPNDHJwW+vYrCcTicRQgTXz/XOWBIGPOGf5vu/+k5prf7EwNmpFWD9w35LmkYd6yETE9nVXL2z2O2ByM++RZc1N1y0OK+ennlgeJPUT8ywpVurzVd3NvgdObh59aHnzWHF3282Lg2RH4u++98Tm6svfC6Jzr1nFz0njgvyeff3i5vXXVjZvLrB867gYIHjqCTPKu5unyvM7b1scFv4vv7QiNlG9+7YlzfQZXc2UqV3NgvLe7BsWFv+XlzZ6VfPcMyua2Tcubt54fWXzyytKG//2yuaN11aFFT6/WFR/+gubB2FvhsGxJ02J77GGRhDfdP2i5q03Sx+2vP94SZO7bl0c33BIL3FyT6u16x6TgrB++qllzZWXvhfW01f9/L3miceWxUDGM0+vCCt331GdI3qtd+7cburAI3OXNfeWNEKGv/zi8mb+kyUtrltU+vurik4zrnn8UbPoe9pqaXFnSYMtS9ykFXmJddxXdDe33rioufWmRc2Lz/fk4aKFq2KwaL8DJjW3z14cgyPLlzZFPpbFgIFZFrvsPqG5rsjd0iWrml12mxgEvO9tv+OEZk4J049/8E7IhvBRF8jqs0WGVpR3kegxsFLuybO7b18S10h+RPnLJX/kCdm5584lRZaWNDvt0mOh/3jJy2//89shm2aE3FHitGihfSu7m933mtBsNr0rCPf75iwtcVrcbLFlVwwqzCrl5J47l4bF/Jw7loS/W20zPsrAsqWrIp3MLvFsyaLuItsriswUd+X39jtMiBkrb5d0Mwj14P1Lmxt+ubB5pYTvjtlLmnffWdnMe3BZpK1vLStpdX/5/isvLY8y8MRjS6OMJEY35HD/XI7faZGf2BDocCFkBgs6svzTmUMQDVcHTqdSp1vHyDeFwzUCisWYZ9AaHnGvHSkdcpZVrPe8q6PuuWtEBMLBu66rX57p2PaH+wgwxIJvOyMwEGk6ekhyRL30QUawjNXp8xx5oBOos4wgEA73XYMwCQsiQzoj6jzzTYMAwjOQNOdenKUP//kL/DNTQQdUmvJPeLjnL/fCWN9nvWsAyzPvcMsvAxg6quRAB1+aiYt4+b0m8EOcavpuLIQtLfITYx3kXhlUHtVb9axcK7vqEGVFma1Q9jxTRtUzZtIg96tFM8KeG/Wma4OV3NYy5qycO7LcJWo74awdRAxrJ0DbqF0kh2RLW6O9YAhBxmo7VN2QZcQpsp0cc89PRD2y2bIE/KztltltBsjPO++89c4QET7y7tBmGAjgl3fIscN9cXF2X5jr94VTuITTvdEg+zXv1BviRG9Rrmt94X7NFzqM9KhpLx+R11XP6XTCuuouFeJaZYPMVB3TPfqUdPBM/Mmme35LU/JyySWXhMUt3WlT9Z1Ee4L+qSzI96rXyn+yo65QZ/id+BXU62mRPzgW+UQL2YiAZAm/+RZdYXm8/4GTwup+3kNLm5m7TmymbdbVTJrcNJ/41Ix477vfeDssgl94Xv02rjnq2ClBxLM0ZpluqZpfXrmwOfq4KWHdrFqc//SK5viTp4Q1M9IV8bvjzhOaD31E/6tprvjZe828R5Y2Z3xos7CiPvsTM2I2wIMPaDNKHbrYso3jwtIbuTu5XI8bPy4s6z/80c3CGv4H33o7wjjnriUx4LCiNOd7z5rYLFrYHVbO77yzKoh9ZKslXRC80uDZZ1Y0D5RvWWpls2ml/JU0QTqfduZmQeqWqrm47YrZBiyrkcK7lPhLqwMPmdQcdsSU5tqrFzYvPLsiBgzMPphcvm8AgHW/77AIN2hhqRaktjghjc02YHm9piVehhPS4d2SPt+56O0YGNll1wnNSy+uaJYuKfp6SZODD5tS0m5Fs3ORB0TylZcubCaWdJH/ZhyIlxkaNsWVPluXa9bo0v24E6eWdFlV8ued5tAjJgeJT+68a7bEiadMbS790XvN1JJOBkkOOdySnt0xICAfLb1DRt8taUu2dt1jYgwIGBySxpbgMXhjtoABBLNEDCgsLjIzY3PhWFV+i193Cf+EkFOzLc7/tRmRT+K4ZKn9KruaxYvMNukh1uUZy37NrwGel0t6ePeTn5kRgz5kmWxMKLIo7gYejjl+SnPH7MXNeZ+bUfK4af7mf79RysHU0s4Xf1Y24T95OPezMyJsBp6+/vdvN2d/bLPm0VLettthQpQPMrm4yMnOu0+IgYIttyrtRPlnVgBVaaeZE5ozz8btDI0eqd3RPrXqNJ2EXFonifxEC4qshpLZH1XBdK4dDdeOIuRxrAmeVyKflZp3deLW9E79BlR/ufXO2vxfG1r9quCX+2vyz/36Tn3eeq/Vfeuz/v70/12hgvSsPm/9lusaz+oO1uaX+/V9aL2u/tXrDYH3HK3+CxdUv1qftbqvh7yunVyyVN16vzX9XXO3LlT/1hePmmZrc+dbiJj+RH4NeyIxVlDLM7mvZbO1jLfeB9ee17KMdOCull3uaxlybq2/KlrdJBJVvvrLizNZI1/c1KPKnoMby7MYAC96abj1zpr8aL3vXSS0gWdEar2/LniHH/W69Rt+1284Q3XT//v1+WiAOIlnf6wpTVrd9X9W07JTUXWcikrkryltKsS9rnldiXzwDln2mx/1nqPKkGM0ydFYRBL5G44k8gd3aR1VjiVuVCUs8q2RfuQxU4LwdB8xyzqalTTLaOLIahhxu+c+E4NYRPwiphGvyMlSRYVfBgCQpONKtbh4YXczc5cJYYGtmkRYssJGgAqDJVcsxbL5FgzUVgVZ/Nz8FWGhz1KblT8CFCH83jurgjxF4G42fVxYLCPrEa3cspZnRY0wn1jcbV7CxB1y99GHl4V1vNkFID7IUGvtlxo2lpF5771VERbrvxs0mFbeFRckrri5J9zI3c23HB/h+tH3320OPXxyhEucty7fuPeupc38p5c1x500rZm584Rmh53Gh7U4v8Xduu1bbdUVfkuDkYR0EK533+3RrRDOiH2DDQZ4HH6zIi/qV/PmG/bda8LC/Yl5y4se1UOkG9B55aWVzfmfm9G8+sqKGHyZtf/k5uEHljR33b6kOfbEqbFkDfkhM0h5+fjqyz3L0xiwIXMGAQys+IalmeSRZZHeXLCi2Xvfyc30GeNiFohlfPYqcshi3uwMy/DIIwMk5IFVveWOpLU4Wioo5Ln4Rx4rPAPfJT+TSp7GrIDnVjSTJzchd5ZsmjSpK/ZRWFLiK+5blvw3s8TMCyD/rOlrWZEelioSPoNXLOyFb+bOPfInLec/uSwGfyy9Y9kc3yXvBjEswRNLWxUZIc/2cXj++RXNB8+ZFktJScOhABlIIj+J/MQoQZHVNRL57ul8UDpZaVOwWF4VAY8KwDOdDu87qxg8cxS5iuUYqqLqvSJToZjVzkmRubBkUpFQVvxGuur4sODyPX5tCvjF30oC8BOiISvxY2Em7KaNC4P7DgQA96zQhJcbz6WF+xsDfvi+8Igz8FMY3Ktxds83arrWNPVOvQfC6F71a7BgqRyWtjquwlHzwHeRIg755LmwCrNwiQP3NZyuyQHwQ7p6p4Z/TeBufUQ+vy2B4Dss/vhb04jf3uWG/AknWXWPe8svsJwTthp2Z+4TibGCOltFOW8tj66VP/WyslHX0K/1kWtu6m/XzrX8JRKbAnqCNledTgYrkYPcsLwOVDnjhvyRybXJXnUz0Ppde6Udc1Y+avsgTPUsXHSf2u7V9q6+79DGjBaIr3Skb4iX9JTe0qKmE71IevRPE+7UJ3571smgS7RC/MhK1T/6g7ywvJdGZidWXRL6vyNNpbMBKwYw5MsyPfTuNfntea2Lq+zx0+Eb3pHm4Lp+l3uovzsd0kH8W+PtWjylD7iu6d2aDn47hhLKhrbSd6peKyxJ5K8d6ok1Efk1v2pet8q3Q57W9B2KNG39Tv29pu+s7f5AMdhEPkiqcV3jgqCfUK633b70f1aWOqLcUwIskwO9xaPEscd9vV+iVOIUl3Htbnm82n1na4XzE6QDrOZneeR3Pff/TqA8Q7hDSfGe7/W+Y5mgIMjjG70fLw7CTa8XCF0/eqvFAGcIa05WWSe9/O4LQ7j3So8/4F6EP+73DARYgsamu6XKKe+OC6KbhfVmM8bHUkXu+2bdOLYivOn1d6RR493zw/+eHzXuntWwVrdPPra8ee21lc3ue2rbu2M2hbXo/ZZ3XvCOAQzp6ZkBn/hO+SO9Pe8tNj5a3um5rKjfjneKA3nsXk8R78kLz8Jdla/iJsqZ+y3y0ydP5f6aNov1SpWfKoO/Ahkp9+VjuPvVN/uXBe8CueqRSb96/OWy9duWWJJ2Pttf3msaistrr66I9LZ/gRkJQwnf0z7VerTTkER+EvmJFhRZDSWzFZSp733ve0HkmApvbXMdGRvRIUNt0mp92yeeeCKUDdbPlSRFis+bNy8UVR1zG8X+/u//fuwr4D0Vh06LdUS//e1vx4Zo1nrnf5G7eFcn5nd+53c2WolRSfm2TfOsSUrBEzZrO1OihcFmbYhla7z6TWn0PWlh0zrrw/OnrrOPPH7ooYeaP/7jP45wbggof4hlm0cKg/Xy+WE9///yX/5LuDnnnHPinvVULWVhbVmEm86csFPwDEi4pwPzwx/+sPnyl78c6/VubDq1wrdtavutb32rOe2002KpH8sRCAf/5WfdqNB6x5Y7kHdkgMWZZ+Jg8EQcyI1rHdjzzz8/5GxTiXxhlHY2FPzwhz/ct9GuMHmXDMpHYSFfwiz/3bvuuutiM0RT2eWndLOPgXwmw95PJEYzlB8bbf/t3/5tc+aZZ0YZVsaRpAgnZclmluoZ+2Uoi9Z1tkwY0l8ZUn68Zy18daLyr+x84QtfGJR6KDH2oJ2lE9hkVjthJh89QHuibbFhqPbTfXoCNwhP8kencG9T629tjvbBxvH8R6ZoN4RNm/3AAw/E9y33Y9Bd26Kc+K1saO8s+0O/sAns2tqwToK4X3nllZEWdDRtpbQRbzqhdtbeOdJCWskjzyy3JS3kIT/oEPYB6tQ0UW/SCW3MTJ+wubE6U92njiR/9Alu7KdAR6EH0zEtSUY/phPRqcgzvYiOSzeSdnVgVVpZqpA+An/0R3/0vjTjRjnxPenNrTwxaEDnVV/T2+fOnRvhlnfkVfkQjqrrdrq+Ix7aI+nAuKQaddDtDIjQrema6g7tGj1eOoAyS2dUbocyHZLI33CsiciXfvJLOWP4JN3oJOTebCv9Cv0j9bO8Vi7Ih7Snk0h3v7mv/Q/3XHPjHfCbG3niqG6chUV+KsOeuea26jzcuXZ/U2RqKIj8it6ol/j0nBMDgyKKsDX4UWk4hP2E3sEBxHUnVafiM9DwIqFxzchqiMGUcinOrWh32dqQOI8UpGEdcFqxfGgDW+sw9WInYrQQ+VK/vwYQv4siGeei0IwrCs64EpZxJYDjitISZ4d75WNxLgHpu+8oESpx7cGFF174e/xKjF4UgX2fslBkIpRNpK7Cfuutt4ZyrAOiw62DQqlCCiH3ddh0XijNOsKOIkuhVJ9yyinR8eCeH0ig73//+7GhHGKb/zpEOjM6gL/927/dXHHFFc3pp5++0ZWMSopyZn1nSntVzHTEdMKEV/yK/Adp7h4FTWfcprcgvOI2e/bsPsKA8ojkLkUj3AwU4nHxxRdHGumoSQPEALL58ssvjw6G8FrPd/78+REeir70ES7pJwxXXXVV+KdTTVlFwnlXWm8qxEm4rCssXVzrGAqPNLDJn/vIcgS4sOk8CjP5kXfS7Kc//WmkqXBTsMXrqKOOincp6fJhXeAXmVwThFF+6sDpSP/zP/9zdJ6lJbLAt8mnb0svmyOSLySl/Q/Io/C7RtqIoxkIiJrBSMNOBhmVNzXtXUvvteVFovMgP9Wz6m3yTvaVN2VIOVYPq3c8U8Yd6mz1DeJU/YeIuuyyy6I+UAcpX4gUBJcynkhsDOgc2gr1ENKzkpIGrZEbdAoyp03RfmvbyTNZReINRv2tLRUOcq7NcE3uDVjTgYTDPW0k2deeI03dF07tCIJ2fW1cJ6HGh+6E+NSGiqsNW9UDdACkvTZZ2ypdtL3qEfWCAXdk28bqcu0Aegsd6KKLLgoZ/cEPfhBndSNiEUGOfLzttttCPq6++uqoF9WHZOnGG2+MdEHQ0TG9X+tRaUt+yDSZY7hB7sk/XbNVrsm7+3/4h38YYaLDqLvpWwZcfI9M0sXkl/q76ra33HJL6JHq/KqPdSqkg/RkVEOu9DsYoTiLJx1RX0WdIT3EW/pKJ3l0ww03hKweeuihQ5oOZEFYoeq18ts36anyejTVFYMB+ak86C8pQyDtDBh+5CMfCf3lM5/5TNQx8o/eT/fw3q//+q9HeWHgo15WLg2sMdbS31M/GzxTH7lWj/HP+0hz+aVP5l112pFHHhl5pa/BGEldKEzaic997nMxcOAdA5zKo8FNe6xpL5S/mvcbAu2Nb/zGb/xGDB4MRrum6u2xClZ2eq55S/Raxa+/KNbfNnF13b8r4J7lbOr91d4v1/HdsG7vvdfBeF82lDi5NwjZM6yQ/4j4cY4W8WzNu9XyscaznM2MkJdrk50ea/N+7/fifW77ufG7ylJ9Jqyu1yQ/1U2ce6+h3ueXa4fBB7Jff0Oce69htfstZ+h/vSY3gZZnUK+Vg3pujV+f23Kubsxqqdb87/N/EKHdaW2fOg1f/epXbyyn7hKPkmK/OpfDue/ovb/W3/Uo6bCqtM/d5ewU/tTfpQ5e7VzahO7S3nSX9PM72vJS/3fTjd3TFmkPtC+gnQe6Wn/I9v7ZHL+TyE9sCMgsRakVRQ7C6kEngPU1UC5YYeqAeEaZoSjpdLA+ouzU+zo4LLAoQSw7dXYoV5QuCrVv6uA564BQmHRyWPkbJKBMeU84NgYqKd9GQgsP6xyFSeGiHNWN7w488MAg6FmRcaNz6l3h8RxpwOKHMui5jmlV2jYEpShFhxcBcPzxx0eHQ5pUa61SziIPEBWUSt+R3hRK19LXWVp7XydGpfGBD3wg3EjHTYV46yQKm/SQbvz2W76Js4ofaeK3+Jx44omhCCPwvSMuflOcKd7Sym+yIIz88J11oXZ41gTv+i5ZIj86ZPymhBswkr4sd4RF3onPqaeeGgo3CzVWWTpwwoEsck/ajnUiX9x1fMmY8kFeyVdvAxWdn5p/MBjylhh+KD/yVR2srtYxVXYNXvqtfNR6RjlHxinjOpdkQv3vnnKuvteR1mklOzqxY7kMJTYe5FJd8/Of/zzqagScupsirB434EoJJn/uayO0j4g5bQzZ3VTZEwbfQ6YiO5ULZI46j6zTB7R/2jN1pN/aHQfFXZi4q3XlaIF0libIYW2ldKGrqR+0pfJH/YDklwfySD1C35IO6pLRkCbiJ24nn3xy6KZ0VHUfnZUeiRx3Vl9y5z55IB+uvUcnIjvqSvqK9DRTld5H1hCVdCeH79FzyFYF+UNEG1iV9soMHca3XZNBcslQgd+1zVZ2XFc/hYN+3KkgTwxixEs6iDMi32wx+qE6ggW8gQ6yCORYf0YZ9756gw44lG2W/NJuQtVr1TPSXn4lkf9+kPf+RL48Ut8g8PU9lCllS5lRlhDz+mjSWJlU1vTlDGR95StfCXmn65x99tmR5wbIpLty5ltf+tKXwl9ll7zQa5RP+YWYV37Jmb6Fsn3uuedGHipb+nCe+766kXx5xtCptewOFINN5CM0H3pgWWwWa5PbB8v1fXcvbRa8tjKWQQFE/fgipiX5glBUVbu3yu/i5PlnetY7r2u9E1lizf3sGxc1r768MtZYt156r7g3lm15+MGlzZw7l8Ra9DYa9W5i5GBQ5emnlje/vHxhs/9Bk3vvlT8lP1eWvETs+20t/TlFRmy4Ksti9ZcihvKWOFYZcZQqLu7b68D67vYw0LRUN+B5n9y4X/xorfa4XeybRVa228EeDEjmpnnphRWxbr618ev7XnOu34DWpXDcd33nbUtiPXy/bZh7z+1Lmv0OmtSw2RaGeK83ztzzv4aTv97zuz5zln7V/9Y4Vbiu6dP63uOPLm+mFvl/5qkVzTbbjQ834nf/nKWlLeoqZUMZXdosXdqUMt8TuOo/t8Jr9ge4NxhQ/7W2T52G0ULky9WenP0V4ncurZPYEFA6KL39oaCTZ4JKmaAkKfjgnvfcI6w9ct8D15UEpBTxx1HhefW3FoLa0VMAEEk6h5uqwNRvVn+Ft95z5r9zjQu0hqve6x/2jQV/dDik2U9+8pNIGx0PYavh8U2/uVERcC/N67s1ravbmh+DBd+RHxTJmv71O/W7wid9dO5rugqrZ9w43Af+iUuNo3z17trg3ToFeX3gn2/zz7V3a7q5Rri4RjpwI/24c/iNBDIQYDBEB5xfYxHyxoDXn/zJnzTnnXdedJCkH6tt992rgzMaIp0iJMFA8ijRfiD/rNOqklHLLTlwruW9fxmvdU11X8udo5bxRGJjUWUPyBQ5cyZ3yBYDy+pzbtw3wMxgwMB2XVptsKCtIM+1TEANk+X1kNPKTy0DUMNbf4821DQR5wpxlR/SBJElDbgZjWmCpGuFOk+aVIhjqwzWOBuEYvxCx5VWNf24lVaIOyR0a7vqmfdreajg3uxDuiOLZIQ1XY1eZTDVgBbjCwNRSED+uFaGENyMUrzHWMR3OhXS0AAGAlcdUNNKHomfsiktWeYjgPUpGL9wo01D8jKkGepZZPKm6s65tM7AoI7vv7SOcsb4yixtg72/+Zu/GeVGPtcypQ2QlvJfntNfzfz+5Cc/GUY/fhvEqrN35Ym+zje/+c1YgrXKhsEupL1vK1/cKbvcVqMp5Y38+a1scydPzeB2j3GY5T+rzrQh0NYN5tI6kyePa75z0TvN448ubf7zn23b/PX/fKPZfKuu5pDDJ8cGsgjYffZlrDOueeTBZc2+B0xqDj9qcmxa+/DcUlb2mdjcdN3CZrc9JjV77D2xyOz42NjTJqQvvbiiee2VFcX9lCDr5z28tNlxZukLljR6+81VsQGtDU73P2hSEvltAE3PRf9Q2oyp45pdd58Ya7IffNjk2NzXpsE77jShyPP42MB18hT7AKxqJhe3C0te77CjTV5XBbFuEODhB5c0K0rzd9xJU2PAxmCPTVttdPvcsz0bKu+xF1loYoPa225aHN8lK3feuriU6e7msHI9a79JzY3XLop3li7ubo45YUrz+CPLmt33ntTcfcfi2LT4wx/drLnrtiUhi8KqyrTfwwEHT24evH9ps/esScWvyTFY9VQJ+577TGrm3rckwmrT4meeWt7sX9yKow1lDyzX989Z0hx4yOR494ZrFjZv9cqrJYOOPHZq+IVg32xGV/Ps08tjI2R7JHjPQISwz3toaVNa6uZDJXxvvbGyuX324mbRe6uaE0+d1jz1xLJmwWurojz99OJ3YkPkO29b1Hz03BnNM8U/m00Ln81xn5y3PDbUPfn0abH5rk2Wd9yplKcS1zM/vFmpl7rjHZvkuj8Y5UhdqX2iU3Qijsw18pPIT/wKRVbXSOSDwl4E+n3XFa33KFPgHqWHosq6znP3WjsO6/K3/+9NBf9UVvX7reGt1/3D4llVuvu72RTwDyir/CvlLu7V+86+W8NWv98/LND/98aihgXIAtRvt6ZDvb8hqP7U82AS+dA/DWq6OSOfNVTVUrC/n2TCIc413mMRpa6PQY0/+IM/CItAHR4jyNJOZ0m6Kc+slFg4WVv9s5/9bHR6Ep2JWp5reYF6XlNZby3Drfeh/+9EYmOxJvlyD1mHhKmyCWTXoe4ebBlcUzgqqi4x1uR+rKcJ3UU8KxB39LdWeC6dWsm3OoMDGSiNajqS3aqT0MG8U3+vC9pr7/PHAa3+tV63unFWVjzrH+5ORE0HaV7To8YZXPdPh/psuNKBDlXDmUT+wKAsrGmNfOVHGWQkZsBGvntuAEsa01kR+waupCud1TOkvncNqGlDkO5m07C+N2PjO9/5Tgzs+IaZ2Ih5s8I///nPx8xFM2B8D0Evz3yH/NCN3XdtEMEz+cofA20GkTYGg03kFzFvLv72u81776xstt9xQhCCu+4xsVn4XqkryvO9Z00Ma+DFC7ubHXayr8C45lO/vnlz7S8WNk89sbw59oQpQeojHt9+e1WQvffetaTZbvvxzcxdJzYPz13SlJLVvPP2yrCmfu9dZbFpTjxlajNr/0lxXcS+pEtPeBIjB3lxyXfeCatw+SRPH7p/STz42LnTm6uvWBgk8pQpZu4y3myaw46c3Dz2yLJms+ldzbPzl8fMC9bzu+42sZSxVc1zzywPcn5hkR/PlyxeFYT+LsXvM8/erFlRutbf+5d3msOLP+SM+w9/bHrMCjnimMnNtOLvXbcuDsL71psXhxX9DkVOhdUmw2d8eLOYGXDlpe8V+VvZbF38njJtXDPv4WUx+GSZqPM+N6PIbdPcVt5/Yt6ycq8rSHl+HX/y1ObWmxY32xZ5nTq11L1LusPS33fP/7UZzUvPr4j3WOZvu11XbDaLpLep77PzVzRbbzO+2f/gSSHzvoek/+UVZvX3DFIpR1/8yhbNow8vbV4u/i5b3l3KQs+AhzTbamvtTHcMSLxYvrX5FuPLN5Y1hx45pbnnzsWR1h84fVrzi8ssWVjSvoTRDAP+nlDKkLQ1KPDj77/X7HvgxMinUuVsMrQ72qdWnaaTMFqIfKnfXwOI37m0TmJDUAR2EJSFrliHs8hTKKuUGMqTikJHhoVDnV4ynFBZIRxZjAkLZYuyJ4wUPs8o2KUMhNUOZQ/xi9ikuHmuoqOgOQ+W0l3TCZwtbcFCSBh8x7VwWV/VPYqdfBpMiAs/7Ucgfyit4iz+8tMzFtnuCQ/FVTjAc+/Xc02Xeq/1cE+cHH5LW/74vSaQxY2Jq+9Q0nXOxMfyH+B7nolXq7+u5cPGfGs0QdpILx0Ya4yyNGL9agqxDopODms+Gzgi1HRSTCWWdonORM1zdTMoc7Ve1FH2mxv1onKvLtKJrvWjMuM5986JxFCBfKl/kCatskYGaxs6nBjr7cWaMBbSBMFIf6lo1eGAPqPttCxUXbJFuqgztaOIRfKr3vUufdlz9eqG6DzVX+fWo4anPuvvpuo6rjsd0lF8HNomaU9Xr+lY4++ePGtNC9dQ27ihhPazykwNWw07edAnGuowdBrkZf+ldaSR9KuDIc70FPoLfV9a0v3NuvDbWTmT9toO/Rdpzlq/vmc/ICQ9v73rUFb1FV3by0JZ5rd3vKsvpg/JT31CZ9/xPe6E0eH91rpiQ0DfEu/BWFoHOYlQZO27+Zbjm6efXNbsM8uAYg/Bv/XW45vttu+xDHbP0jmsnLfcpuTBcyvCytimmyW5g7hHcr76cg+5uWjRqrBiRkQiNFleOyNh4ejjp8agwCYEPzHIsGHtg/cva2btN7l54dkiqyVvJ07qilkWx5wwtbn+lwtL37wrLL/fLHm//Q7jmy2K3EyZ0tVMmDiuyEF3kPSYxkMOm9y89qqZul3NyuLva0UuWL8vX9Y0WxQ3e+0zqZSJ7vCP1Tz60gwQFu7czH96eXPKmdOad95aFYNL777bQ3yz8t9iq654f/6TK5qDD5/UbL55V1j1W3rn6OOnxJI0ZFu4WMk7DBDMvnFxY6kahLtBK+8g0F8t5512ntC89srKIPI932ufic3evvHUslI3FNmfOq7ZtpSFhe91N8/NXxFLDYnz5lt2hdX+u2+Xvk75JoKd3EsHy93stMuEmKHAqn67HSZEnC1ThYzfZtvxfX4aRFhWkmHS5KbUGd3Niy+U9Nq2xz23ZrhM22xchG2bUtaEaf8DJzcvv7gyyuGkcv+Qw6ZE2vQ2YZsE9V5r+9RpyKV10iI/0YKqDG8KKB6sGCg7SEDrqbLgVR4INWL/4x//eJ8SPVxQyChV3/rWt4KY1GkSBmfkuXUTFUKVmqm4lDKKGGUOWUlB0wlDIrDW4N9gxoF/0sx6n9bsNO3TMi/WekeYqhhMWbcOvDAO5rdV4tLgkksuiTgb2EDkslLxTWGwURjLFWuLInQNzrBqoWhTMp2lG9Kc5YsZGJRh6SZupj5TiKUdQt2SBPz61Kc+FWtZ9of4VWV9QyE+1ppVgVLUKd3CIR+F4Zxzzgk3wy2DnQQyJu0dNa3ko86Rc+v9ROdCHirb1lJWt6gP1TXqOWWF4qE866gq3zqtypJ63BIQyihZsReFMp3ykBgqkDMDiGRNHZRIjATUkXTZCnWidrHCM3UqgwhredOpkIXXXHNN7MFDNzFYTlcm03QU+y7RtbgdKGo77Kjhcc1PR/3dGlaoz9TVnncqxINuh4St8WQYQjfV96Cvs8R2jcDVjomzQzrTt/lB96WD6gPoAw0F5HXVl6pe69tkByGcFvnvB/29v0X+YEM+yHN505r+tVzUMubZcOfPYFrkCzprYMSjZUWKIBb/SjxXKg/SuseiGUH59psrw5J4vwMmNROK22efWl70v57fL4QlcVcQodbM32nmxBgcQAwbCJgw0Xea5sXnljd77DOpWbp4VRCpvpFoH8ivl19aGRbujzy0LMhl5POK5auabbad0LxQ8g/R3l3cIe2nTGaYNy7YUevUs6hn2T6hNC0Ght5csLLZcuvxYbE/fUbPcj1PPb681MHjYtklyy0ZGHrrrZWx7NJ+B0wOS/qnn1jWvPNud/Obv7tFUK/CQrUzgPDGghXN22+tag44aHIst2MgYJsiY8jsxQtXNVtvN76ZJ+ybjYswWbLJ2aDEo8XvqeXb06d3xaDS2+W7BpPI7NbbTGgevG9pzDrhZsLErlgu553ixtI1oDy4XrJoVWk7igzvMD7Kxoziv7LBf8v0INpPPWNa8/i8Iu97TWi2Lmm34NUVzaQp42Jmi9kATz+pzIyLgS0zFaTzG6+vjPXu+WUJolJCI06v9e5XIT+eeGxZ8XNSKU+ryu+u5r33LGuEcI8gDlqZUq9pn/rrCZ2CtMgvh3tpkZ+AIrCbpCxAEZVQkJHAFLEiU2ENY1OuOipl3cDhhsqK0i+OwscKigJflX8kFSL/ueeeCzKaNQRQuv02ICEu1gdHrJfyEc8HE8LGX2v+6izqhCDMEOjSTtiQZYNd4dY80/EERL24fuMb3wgyT0eDG4S+Ch+Zcsstt/RZpAiPEUazBvzWKbn66qvjng4UP7zj2pIs3tXxRRYiZQwIrAlkUZpsKIRHuokTUlK+y095p9MsfoOdhp0Meat8SGtn5ZYcunZAPXML0q8+35g8SrQH5KcyoX5RXpVpJJT6R1k3AAcG3bhVjpH76kT1lME69bvBWu8kEkMFdY32xUyQWh8lEsMN7WNtB6H0nVbTB2ubqF5Vf1Y9hu7DLT2TDNf3kJQ26+R2IHqlb6unkZx0RAMDvknP0i577lo41dOeqaMdDFToRUhCOrrvquc7FeIm/VhMixsjlF5ruJhBevHFF0c6SKebb745DHPo0XR/h3aPwYz88M5Qgd9VZqo8CHuVh7TIfz/Icn+L/MGGNK+6bCv8rvdar4cTg2mRD4hYRCeSEDFYiU8HC3xrobMCRrruuNPEnpeKas/q3nr3iEzXiNHtdpwQVsYIT0Q9gpEVcfg7vSuW2rE8CL+ze9B+IM8suuUvMn/rbXo2KJ5mRkURM4M1ZIGlO5JbnpMPsy4UhZ13mRiktvxFkHPv7D4ZIWs7WGe/yBIr+u3LNTngpz0WnEvVF8vHnPiBaXEmJkjsbXeYUOSq6ZHDInfuk7UpwuadEgZhEoeZ8b0JQdgLv2/49syde++X8FWZ9g53wm+gwDPyGu+VOIufMhFlobxDjlnbG6xy7V2W+d4zAIa0P+qYqeHvzkXehUvacVtlX/mQvlts2dV0je+x9Oe3+AgTv2MmS4n/jOJGuK3Hz+peGD2LuJXf0nEoIB1b26dOQ1rkp0V+ogWUyk21yCfMlGmdBdcqCQoJgUaYKxesC4YbwqEjo4ABcpc1jAKmoHmuENZ7da1DacJ6yrXwU6goVz3le/BQv6+ASzcdLGH1Hd/X6fB9gyDcDib4h1j/4Q9/GLMVDjnkkCDddfSqlb000tlBkCPC5TFLJ/kqjcx0QOBbW501/uzZsyMed999d3PKKaeERZoOjOcGRWyketNNN8UGqiyh+kO8N9Yi33cRPsKvcyyMjhpmMx42VSkeLZBW8oNskTl5dOutt8ZmeCzYpJND+pGTKvfOyrWzd4Ec1OeJzoD8Z2EPyodybuaSwTX5S8GT/+oD5V/dhxRB2rN8lOeUE+7JSCIxVFD/pEV+YqSh7mut6/pb5Fd9qhqOqCcBkc/yW/2qnUUoI5ErSTlQAxH+043o2IhpBhjaa/W4TVvpOP/wD/8QG3vSIatlr2v1OyC56eHKEn23k9ttcbrqqqsiH+h99GXxYvRik1PLG0lzz7RVnjEikf502cMPPzzyayjTQB5rS30jLfIHBvlaLfLl6ViDcqucDtYa+YnESEC1tqaqlQqnzlMnDqDZayv0NP+I+54ZLZ0MeaB96tT+22ixyNf699cA4ncS+YkNQZHVTSbyQcWgo+2sM0OJpjzXTspAOitDAeFxtF6XQhq/nVvvOcSh9ZmzsDsPBer3K+p16/eGKu1q/FTmvlHzrz6D1nSov7nTEdFJZfGOxCdHlHAdR6SfzhJr/ToQAvW5DtWawO+NJfKh5p3wsozTUNVvCV+iB/Lhoosu6hs0MnDzox/9qDn//PPD2vpDH/pQ3P/5z38e59122y2IDFbb3jU4hkTw/rnnnhvPRqp8JzYOtXzXMlPzr7Wsg+f1d33mcJ15nhhqkLMk8hMjjfUR+UBWHVDrTMQ7HYguUnWQWo/ChtSh3hOOyy+/PGZGMYyg51g+kDEGIv+II44I8o9Bg+cGCrzjHl3o1FNPjbDX73cqpAWSnkU+ww1pK3/oJ9JUnUEPtXScuEsD8Iz+Ik+GOg3keelLx3eSyB8Y5B8i31Ks0q/T5XRDwXiCXCSRn0gkhgraHfVrq07TSUgiP4n8RAuKrA4KkV+hguAfy05WQqVA9D5JjCbIZ0o3RbO1M+o+woVcaSQ8IwPu60x5tjZwtylEfoVvtRL5KYOrQ75ZQun2228PAsCsEGClZyaGNX1ZWyPyS1sQeWbaPuvtM888M37b2I/7P//zPw+32eFIJBKDDXV5EvmJkQbdhT5TsSYif03QZrIsHiwLeOUBeU2/RkbTs/itndYGs+hFBhpop0d5VsFtNWwYDZAWjtZ0rbqmuLqm69T7rRiMvFgf6J/yxbeSyB8Y1PHk98/+7M+ar33ta713xxYYRl1//fVhDJV6dSKRGGxod5LITyI/MUpQZDWJ/MSQg1wkkd8ekAfWl0Xa60yyrC91fiwHYNr+ySefHFZrSAgNvfywvFJpJ2JKOrJAGktXpL93M40TicRgQz2TRH5ipNEuRD4oE8pCJYb563CPPu9amwz9vzlYYegE1LQZKSSRv3GQZvR3S3TWNBsrICvqGnq181gqr4lEYnigTk0iP4n8xChBkdUk8hNDDnJBMdXZXBvIShL5wwMNuHTqnzbyR50Anle4dtS8qe/6nembSCSGAuqZJPITIw26izazYiSJ/PWhts2JkUUS+RsPdX3rbJKxBPLCkCbLcCKRGApod5LIH3kiP3s0iUQikdgolDYqpu06tx7ICR1OR+t9bj1r/e1cGrxeHxOJRCKRSIwksk1OdDron5Z8HIuHgZ4sw4lEIjG6kUR+IpFIJBKJRCKRSCQSiUQikUgkEm2MJPITbQlTdUyJnDBhQt9GU+0K04tqWJ1Hepqr9KphadcpT+2WZmtCazqaopsYOGr+1nLcjvmbGFrUuruWo0RiJNBObU0n6TXDhdY0yXpidQx3Ozrc32tnSANLIdnzJ5FIJBKJRKLdgOXrr6nF74MOOijOCxcuHLdo0aJxK1euHLdq1apxM2bMiLPDvaLsxbko4H33HUUJ6qq48MILf49fidELU/gskzEYKCITG2j+3d/9XXPVVVfFGpAzZ85s22mCOjuXXXZZ8w//8A/NSy+91Bx44IHRCRgJIAfuuOOO5q//+q+bOXPmNPvvv38zbdq0tko76UVWvvOd7zTf+MY3mlK/RDgHEkbviuP6Opj835Q4y79bbrml+fu///vmiSeeiDy1Fly7ymA7Qd5Ip5/97GfNP/7jPzavvPLKiJaJxPBDXj/33HPNX/3VXzVXX311s/POO8deJ0U36HWRSAwP6BM//vGPo6158803oy5yb7ihTNhz5W/+5m+aSy+9NNY832WXXcZ0mZAmdCb1xJVXXtnssMMOsY/BaE0Tukur7FlWbn1x/fnPf9780z/9U8hO6ZcNWTuq3RaWH/zgB80///M/N2+//XZzwAEH9D4dWzCgZF8CMvnGG29EOV2fzjlUEJYqM1WvFRayYwmVzTbbbMTClkgkEomxCe1Oa/vUafjqV796Yzl1l3hQwvrO5XDuO3rvr/V3PUo6rCrtc3c5O4U/9XfRrVY7l/a7u+hy3SX9/I62vOiH3QsXLpSmnoW+yKACtPPw8MMPx7kVWv/+GkD8zs1uExsCSuVgbHarYnD8h//wH5qvfe1rcW+fffZprrnmmiCCfKedoKDddNNNzSc/+cm++P+///f/mgsvvDAK5nBCwX/hhReaj3zkI83jjz8e937nd36n+du//dtYL7FdwMLpX/7lX5rf/u3fjt8Icp3Hs88+OzZnWhfIxlBvdqthkn5nnHFGdJ7hD//wD5s//uM/HtDGdGMdGp5rr722Offcc/vy8+tf/3rzpS99qa3kMDF0UE4/97nPNZdffnn8PvHEE5uf/OQnsWn0xpbLRGJDoS5CxpFFdQ+5pFdccMEFw14XaVf+/b//90HKwr777hsGALvuuuugGUF0EuQF/OZv/ma0/3D44YdHfm2++eajsp7YkM1u6ZY33nhj84lPfKJPVhmLfOUrXxkS2aWXXXLJJdFOS3vy+u1vf7s5//zzh72sjCToljaR/eIXv9hcf/310YE20KTOWJ9+OhSgH8uLVr1W2ZEnudltIpFIJEYC2h3tU6tO00nIzW4TiSEAJfq9995r7r///t47TfPkk082zz77bFuO+qnAHnzwwdUGMYR9JMIqLPPnz2+eeeaZ3jtNc88997Rdh1g4b7/99t5fTQx4SLNSmfXeGVnIu6eeeqqPxAfpKJztKIPtBmk0d+7c1Tq9DzzwQO9VYrRD/r/zzjur1eHz5s0Ly9tOVfgSnQlkqJlplYgsinVz9913D7sc6vAgbGfPnt17p4nB4hdffHHMlglp8u6770ZbUSFNGCNkO/sr3bKVRB/KdtT37rrrrj590eDSfffd1zZ62XDB4J9ZrUh8YCH3zW9+M2UykUgkEolEWyE1k0RbQSeCNdZHP/rR3jtNc+qppzb77bdfW1qtCdNpp53W7LbbbvF7xowZYVk+EmH1zYMPPrg54YQT4reO8nnnndd2HRDhFK4tttgifpu2/MEPfrBtrN1XrlzZHHbYYXEAMsiMC9Z07TYo0o6QfqeffnoskQDy+ayzzgoSLTH6oYxsvfXWzcc//vHeO03k/5577tmWdXhi9MJgovbY0k6w5ZZbhlwOtxyq+7Qjn//853vvNDHja9asWWO2TKgn5IcZhBXaDTMwtSFjHeSCbkk/Arrlhz70oSFrR+lfH/vYx5ptttkmflvm6MMf/vCIWKGPJMje7rvvHjOAKw499NDeq0QikUgkEon2gPl4/efkxe9cWiexIaD8DsbSOlCt126++eZYp/Pkk0+OTkW7du5YMrE4ZYGKrDrmmGNGLKzCwvLV+u7W4D3llFP6puW2EwwusJS0/vwhhxwSa7/2JzSEWWdfnCrIxlAvrQO+aY1vMwfInqVBfLPd0rFdIf0eeeSR5t57741BuKOOOirJmTEEZYUlo6Uh1OUGY5F2ORCWGG5o/1g2s/y2nM0RRxwxInKo7UKKapvpNSeddFKz4447jul6UZqY6aae0GarJwwCjtZ6YkOW1gFuq2651157RTs6lGnje7716KOPxl4SCOyxONCkzvjFL37RfOtb34p0tySWAY6RkMtcWieRSCQS7QbtTi6tM/JL6ySRnxgUFFkdNCIfVBBFfvoUZ/63M1jbCaMKrZSD3rsjA+lWKpC+sLhuR5jCLJ/l8ZrSTLilqfhUcD8cRD74bk1LBEy7pmO7op3KRGL4oYw6ahlv9zo8MXqhLiKLtS4fKbTqNa7HIknaH/JFG9Eput6mYEOJfCC75MR5OGSXXiZMw/W9doV0kD/OI9l+JZGfSCQSiXaDdieJ/FwjP5FYI0oBCEWVtVYpB7132xc6PsLbDh0fnT7pJjzSsV0hrYSxXUneTknHdkU7lYnE8APhIP87pQ5PjF60S13Uqtckid+DrCfWjeGW3aqXjfV2W/ylvXPKZSKRSCQSiXZDEvmJRCKRSCQSiUQikUgkEolEIpFItDGSyE+0NXLKaCKRSCQSiUQikUgkEolEIpEY60giP5FIJBKJRCKRSCQSiUQikUgkEok2RhL5iUQikUgkEolEIpFIJBKJRCKRSLQxkshPJBKJRCKRSCQSiUQikUgkEolEoo2RRH4iMYjINf0TiUQikUgkEolEIpFIJBKJxGAjifxEIpFIJBKJRCKRSCQSiUQikUgk2hhJ5CcSiUQikUgkEolEIpFIJBKJRCLRxkgiP5FIJBKJRCKRSCQSiUQikUgkEok2hgW9+y/qHb8/85nPxPnVV18d99prr3UtW7Zs3PLly8fttNNOcXYsXbq0a/r06Z51TZkypavc61qxYkUcEydOHD9hwoTxcNdddz3Jr8ToxapVq5oiD72/BgcrV66MY9KkSb132hviP3ny5N5fIwthkW6dvGZ/d3d3U+qU1fJffPzu6lr7GKT3xN85MbIobUNT2oLcO2KMougCcS66QJwTibEOupJy0Sl6zXBgrKQJ/bBVd9E+0nHXh+HWLUeD/jgYaId08P3SjV5NrxUe12+88Uazww47pH6VSCQSiWGFdkf7tC4+pp1x5JFH/llpT1eW8K9oPZdHznG47r0f185+1+tyXl7dlnZ6RdFlV5b+blHrVq50z9nvot86r1q+fHmci+63cuLEiauKXreq/O5+6623uqdOnbrqlVde6Z4yZcqqkq5+d0+fPj2IrO233z7Ol1xyifNq5JbWv78GEL+TyE+MNHTsHEW2eu+0NxYtWtRMmzat99fIYuHChRGWTlbw6+BQqcx67yQ6DYsXL34feZEYO0BUAWUvkUj0GCgoF9mu/Qr0vNJ/yDRZA0pnMHTLzTbbrPfO0GM06I+DAelAJttRf6Ebv/76683MmTOTyE8kEolEYgMwWoj8ZFcSiUQikUgkEolEIpFIJBKJRCKRaGMkkZ/YZLz77rvNa6+9Ftcsq1555ZWwxJ07d27z3nvvxf233nqrefLJJ5uXXnppwEuesDLpJEuTdgprp6XdmjAa4jDWkXk4tpH5n0isjiwT70emydoxEmmT+dGDdk6HGrbMp0QikUgkxiZoAP21gPidS+skBop77rmneeaZZ5rzzz8/CPvLL7+8OeOMM8hOs/feezdvvvlmc+ONNzZFVoL033///Zujjz56jQroypUrYzDAM2dHLq2z4TCQIt06WcnPpXU6H7m0zthG0QnibJ+ERCKRS+usCfQ8dUWmyfvB8GW4l9bxPXkx1knidl5aRx2yYMGCZscdd0wyP5FIJBLDjgkTJuQa+b1uR2ppHa1/fw0gfieRnxgo7r333iDyzz333CDyr7rqquYDH/hAWOQfddRRzW233dZst912zfHHH9+8+OKL8fyzn/1sM2PGjF4ffgX+PPbYY32bO0GnKKnC2y5h3WqrrZq33347yPBORjulaWLDkfk3diHv68AmYijlIJHoQdaLq0N6QKbJmjHc8pLy2YN2Tgdhc3QqiZJIJBKJzoS2Z8KECc0RRxzRbL755r13OwtJ5CeRn+jFnDlzmmeffTaIfOTxlVde2Zx88snN7Nmzm+OOOy4s9g899NBm1qxZYaH7gx/8oDnnnHOaHXbYodeHX+Gpp55qHn744SDygRJdCkNctzvaKawGTsyEKGWx905nopPyP/F+ZP6NXcj3OlhrJla7EiKJxHAj68X3I9Nk7RjutMm86EG7p0PmUyKRSCSGG9odM62PPfbYZosttui921lIIj+J/EQvWN4/9NBDsbSO5XQso2NpnZtuuqk55ZRTguhH6Jx44onNCy+80Fx33XVhkb+mqcIGBB5//PE+Ir8UhFBWOwHtFNYtt9yyeeedd9IiPzGiyPwbu5D3aZGfSLwfWS++H5kma8dwp03mRQ/oz6XT3vsrkUgkEokEHQGRf9hhh61xdY1OQBL5SeQnesHa8pe//GWscVpkodlzzz1jDfyf/OQnzemnnx4dgmuvvTYK/ZIlS8I6X+FfEyjOlXwucpRr5G8kRsMap+Qg18jvbOQa+WMb2gN1kLo/kUjkGvlrAj2P/php8n6UzmDoc7lG/vCjndfITyQSiURiJMHotlP1hCTyk8hPtABhZ338kufN1ltvHYqv30U+gsShEFt2h1Js/faBoMh/dPAQgZ0AaSB+7QDpPZwdv6FAqQSDyO+UgZzE+2HgTvkd64TAWAXCEopSEudEYqzDALVyke3ar0DXK/2HTJO1YLiNREaD/jgYyAGNRCKRSCRGH0YLkZ9mBolBAWV3p512irXZizCH4ouwr5aYOgUzZ84cMIkPpRDE0SmoMwnaBZ2UdmtCp+V/4v3IPEwkEolfIevE9yPTZO0YqbTJ/Ei5TCQSiUQi0b5IIj+RSCQSiUQikUgkEolEIpFIJBKJNkYS+YlEIpFIJBKJRCIxxjFhwoTeq0QikUgkEolEOyKJ/EQikUgkEolEIpEY48h9bRKJRCKRSCTaG0nkJxKJRCKRSCQSiUQikUgkEolEItHGSCI/kUgkEolEIpFIJNoILOPHjx/f+ysxnJDuXV3ZTU4kEolEItF+SA0lkRgkpMKfSCQSvwISKuvFRCKR2Di8+uqrzQsvvNAsX768987Q4p133mlefPHF5t133+29MzaxZMmS5vnnn29ee+213juJRCKRSCQS7YPsYSfaFjbcmjhxYu+v9obOj87WwoULe+8kNhUIwNx0rbOh/CaRO3axYMGCIIWWLl3aeyeRGNtg5dspes1woZN0veGCevOiiy5qrrjiiubmm29uvvGNbzT33ntv79PBx8qVK5uf/vSnzcUXX9z88pe/bH7wgx80l156adwfa7j11lubb37zm80tt9zS/PznP2++9a1vNW+99Vbv00QikUgkEomRh/ma/Xc0it8HHXRQnBcuXDhu0aJF44oyN27VqlXjZsyYEWeHe5MmTYpzUcT77jtKZ6Wr4sILL/w9fiUSA8X999/f3HPPPc1jjz0W5PhOO+3U+6S9gMD/4Q9/2Nx2221huaMDwIpnr732GlESmvWWjnGnblj23HPPNXfccUfzyCOPNK+88kqz7bbbNqWu6X2aaHc89dRTzZ133tk88cQTkX/bb799DsqMIRjU/N73vtc8/PDDUZYRUcuWLWv22GOPXheJxNgCQvTuu+9u7rvvvubxxx9vip7cbLfddr1PxyboKdqJBx54INKEvrLNNtv0Ph27eOONN5rvfve7zRlnnNGcddZZzeGHH97stttuzVVXXRV60I477tjrcvDge5tttlnziU98ojnmmGOa/fbbr5k/f34MHhxyyCG9rkY/brzxxuh3fOYzn2mOP/745rDDDmu6u7uD0HedekwikUgkEp2Nr371qzeWU3fRO1e1nsvh3Hf03l/r73p0dXWtKrpCdzk7hT/1d9H3VzuX/kD3+PHju4s+4XfMAJw4cWI3vtO9avBTeS+6GehT90eaSibaCitWrGi+853vNA899FB0cnVYKNX/8i//MmxTiwcKHXOdn91337358pe/3Jx33nnNhRde2Gy++eZh1dRTjhMbCoMhOk3Tpk2LzqsK7p//+Z9jgCTR/rj22mvDom/q1KlB4CMlvva1r+UU9TECVvhI/NNOO6254IILghD5yle+0jzzzDPNdddd1+sqkRg7oJz/0z/9U/Pss89GnYisNvjPAnqs6glvv/12pMnLL7/c7LDDDs1WW23V3HTTTc1ll1025nWnq6++ujnllFNCXhiK/OxnPwtS/fOf/3ykEd1zMDFv3rwYWProRz8aepfvO3/84x8PvfvRRx/tdTm6wepeR1m8zUbQ79CWkVGDKdl+JRKJRCKRaBckkZ9oK1CUjTyde+65YdW+5557Nuecc0508q655ppeV+2BOXPmNLvuumszffr0sB6/6667ogP0oQ99KJYTMQCR2DCw5GWh94UvfKE54IADIn1Zh0lTHavFixf3uky0I1hVkvvf+q3fCiLi6KOPDgs/loU//vGPc3BrDMBADivSl156KepFh7ry137t14IwMospkRhLQNgfeOCBzac//eloz0488cQY3LIOOUJ/rAFpjJw+6qijwgDiiCOOaE4++eRoNywpw5BjrIIxi6XIdtlllyDst9hii2brrbdunn766WbLLbeMgSB162Bi7ty5kQe+/X/+z/+JfPiDP/iD0Lf23nvvGEQYCzB7zKASnV5aMD6QB2aTHXTQQTEYnegxYtKOb6w+p95bly7PGCB1xUQikUgk1o0k8hNtA50XVtcsOf/u7/6u+frXvx6W7X/2Z38WpCASqJ2UO8uHWCqC0olwpuzrdLHqMQBhWZHEhsGSSkhfyw/8t//235rLL7+8+ZM/+ZOwCjPTgWVUon1hNsWZZ54ZRA35NzAnz3SCZ8yYEWREYnTDUkpmKS1atCgIKFMELZnhjIjKMpwYS0BaIb1OOumksLD+X//rfzV/9Vd/FWSstk49qb4cS0CQ0pcMatCj/uiP/ihm3dnYlTX07Nmze12OPagryYMzgxAGIg8++GCQp+7VZRMHE/yTH+po366z50zr9l3hGAuwbI74I/Hfe++9IPTNpjF7pKZ/ooklL2+//fbok5lxqQ+0IYe0Ve8p72t6zk/1QiKRSCQSibUjifxE20BHgqKM8EOQI+9PPfXUsGTTkdCpaCcif/LkydGpYsGDsERi6gi8/vrrcX/KlCm9LhMDxZtvvhmDItKWFT4rMcQwuTBIooOVaF/o7Cq/LNe+/e1vxxJJF198cQzSIXV10BKjG8gg9bSlGazpbK8Tyywp20iS3OsiMZaABDSjkA5jxtL/9//9f81//+//PUgsbVolZ8cSDPKpI8QdSf0//+f/bP70T/80jCDshyPNxirUn9JAutCBPvaxj8Va7QY9DAQZGGKVP5gwc85MSDj//PNDn/2N3/iN+G1Znf333z+uRzvMAjYQTT4NskkXx+mnnx4zZw4++OBel2Mb9DxtuTK8sX0y7/GjP2q9sLH+JhKJRCIxVpBEfqJtgOyhwLEG0plhsabjogOMCNTZbSfLIAo+8p61MSuyD37wg7GuPyLTVOUjjzyy12VioLCpsQ6sNER0mGaP/EUKkgsEf6J9oQyzqJJ/H/7wh6NcWEbCIJ0OcrtuWp0YPNgQ0DJoZlZZc9mSGdYEJxdIqJ133rnXZSIx+oGUVfeBDUT/9b/+17HW+b777huD/girsdaumV0n3ghBg/X20vjiF78YMxnr8iZjGZYmowddf/31Ychy6KGHRlp9//vfjzaVnjyYUCebRWVWBHk1cDBz5szmoosuCsMKexWNBSiH2i17X5FRSz+RT3lB/5QuiSZk8thjj40BHm37hh5mOuyzzz6xB1r/Z+TPwKdBlUQikUgkEmsHbbC/Rhi/P/OZz8T51VdfHVcUmK5ly5aNW758+biddtopzo6lS5d2lQbZs64pU6Z0lXtdK1asiGPixInjJ0yYMB7uuuuuJ/mVSKwP1lM2bdMa+ayvdfaQ+tZTtWZ6uynSCCtTQFns6PgYeGDNpAMwkmE1HRj5PdgdvqEGss8GYzbItFeCzqtp3zpSpuJ+6UtfCnlItCcQVjrBX/7yl2MZlYobbrghls1C1iRGN1jZmY1hRhIS36AOq85bbrklrD0RRonEWMKVV14Za0IjYbVn9BrLSygnddbhWIL4/+QnPwni1B5IDDTcY5GPPLaXwFghj9cG8mLTeLM46HFITmk12Nb4FdL/3nvvjXqa7k1OLQc1Fg1SzCiU9maGSHuW+Aj+nE2WSCQSiUTno+g2f1b0npVF/1zRei6PnONw3Xs/rp39rtflvLy6HT9+/IrS/105YcKEleCes99Fp3JetXz58jgvW7ZsZdGxVhUdeFX53V103+6pU6eueuWVV7pL33lV0TX87p4+fXpMTSt6X5wvueQS59WmqyWRn2g7IMcffvjhsELSwXvggQfCeoOFbzsS00hmgw865qx4hHvWrFm9T0cGnUrkg4ERG9uyzmOxYx3OUrcEuS99E+0NZQFxpQxYTgeJW9qC5rOf/WxY7CdGP5D5liKwSaKyy8qOBd9QkVCJRDsDMcoYwUAn/cDSHfQGs5XGqpWveuFHP/pRkKWIUrN16H2MIlhBJxKJRCKRSCQSg40k8pPITwwhWGbZ+BQhdPjhh8dUy3ZHKa9tYy3eyUQ+lLqkeeihh2JpHTMxkPqJzoGlsOSfcozQNz0/MTbRTvViIjGSsFwcstpsFeR10Z97n4xdWELRYK+0sEwhvSWRSLQv9MtKvz/6FwYpXWvjzb5bX59D38Rs2zXBAOdAyn93d3ezZMmS9RqGmNWyLjd0E7Oozf5Zl44iXOLYOssUhGND+lj8MdPFUbG+MCYSiURi8JFEfhL5iWEAhbEUmt5fiYGi04n8ilIHJgmYSCQSiUQikRg2lD5tM2fOnJhRhvDde++9Y1ZoK6FrJsmTTz4ZxiY2r64wQ9dykJaSW5shktkovvHCCy+E350ysMfA5uWXX47rF55/vpk4aVLMujTjzrr59hPQB7EU0aJy3rykC6MOhPWTJU1m7btv9O02K32UpcuWhZ7fVfT8hx96qJm1zz7N5ClTou+yvDzbvaTr8889F0S6992fvtlmze23397su99+8V1p7TytPH/jzTcjv4TL/lr7zJoVxPl7JZ+cd99jj8gv1/oWj82b15x62mkxoNjd3R2Dioh9+zkh3uXR008/HUtb7bTjjs240h8Vdm7NFjZb3LW4CqM8Z7jCbzNShc0zxi3CI41ce/ZckSnLifYPo9+JRCKRGDokkZ9EfmKIUeQpFCbrqCY2DKOByJf3FF7KeyKR6GwUfSY6vEUv6L2TSIw9IHsQdwgb7RsCcF3GCpbjWdvmr6xSbZjrOf9a4TsINaTj2ixgE+0NOhAikQ6MEJTHdDu68VDPUiQ/pS8XeiSrYfV2fxkjv+r1/lbU3vMOC+0KYSbnnnmHX77hXWdkZ7vpq9L62muvjSXiXCtH9vqxzCeYYYO4RcbaTwDZb0NrRLFlIW+99dbY/P2dd96JDYW5Ux61g/ITQXzIIYdE+bX0XKcQ+chuZD68VM7I+GVFFgxYfOSjH439BeTlglI3BZnd2x8x6EGO3nzjjSDLF5Tz1uUd6SZduJHOZIP8TCm6/9nnnNP84soro64bX941MGKWrqXKyJH3kOZLinuDLIvK2f0tyvXLpe5c5XqLLeLdCcXdB045pbn66qv75O21koeWfbQcpPyNPkcJh+sIV3l3WZHdd0seyjdxFA95xY/pRcYNBvDLnkAPPvRQ3BcmgxfeE66dd9kl6nKDFMLxyssvh0yov/m39TbbxMCGb320pGGnyEIikUh0IpLITyI/McQo8pRE/kZiNBD5QAYo9aUujLjoCCYSic6Azvfs2bPDQs2mjdttt13soaBcf+5zn4u6XV2lo43sQPzoACcSoxWIQKSRNfKReCw0tdXKBAIIOcjK87HHHgurUHvGsAZF7HCHQPMOgvfNN9+MQQFL0rDoRRQhhZQp56KXB8E40nv2rA/IM/UDS1okKDLUdYUBCXFpJYZBWiHcWgcq+IUwnTlzZu+dNUP6IeoscdSuehKLYJvHk5ObbropjBrEj178kY98JOrK0r/SIe3bV0rabSqQi/aqQkSqs+lfZPOoo46KfCB30vfrX/96pB/ZkwfIaUB+q/Pdl7bk1Yb3e+21VyyZKR/lERkl676jPWhX/U4ezJ07N8ofUlY85QErbnFSpqWR8kpfJVvSidW6dJFWLPvt/YC8N5ghTw0C/PEf//FqlvydAJbldxe5MwCxtNRb43ut1FmrH1zqIpsmA0v6nUrcuWctv9XWWweRL9/JhrqNnHA3o6SrUoj0J9crSxptX/yX3o8U2TYg8HbREfbdd9+QKemozpR29Agy+UaRKd/adbfdgnRXXrjhB/l1PaW4VWb2Kt9n8S+/lJlH580LNyuKm/KB5p2ShwYJEPHI90nlPfqM8uA7ZiHIc/EW1hXl2mDMA0W+xWuHHXdsdihu3yz+kAF1+NtFzmv8QD3tG87qdwer/C3KPQMWiUQikRgaJJGfRH5iiFHkP5QkilYnQKdL53yPPfZ4X+eylI1Q7nROKXQVpaDHe61ugWLX/x6UstaXLvW5TsQuu+wSnQodJkqizl6nD4Ag/O65555Qjp955pkgIyi3/TvdOkgsdCjwyA+dJco9d9IX6jvSWueKNVu95zcSQYeMhUwFpf250sFoJUF0QJAHOiGJNUOa66jWcivN3VuTPCdGN5Dz3/zmN6NMIi+V0Q9+8INRPylr6iydfh1t9dqBBx7YnH/++b1vJxKjD9puRB8C7+ijjw5iXv2oXUEEKhOITpafyCrkIZ0Becid9xE+2if36BTuIbsRUepdZemss85qzjjjjCBH+7eZ7QY6DKL0vvvui/aWxS9LZnqQ+CM8xVm7qw5RdyDp1CmV9Jce0glJh0SVlt7VZmuPpCk9rKY/AtH5nHPOadv0Ead//Md/DP1O2hioOfXUUyPu8pg+SG6kHUJd/v/bf/tve9/eeEgnsvW///f/Dh3od3/3d5urrrqqL52k72/91m81f/EXfxFhkabSmMy6ll/yRdsvnF/84hebK664ojnhhBOa733ve+HHxz/+8RhIoYtVna0doczdfPPNET9yR/7IDWK5lkGyJp7klRt6qLRwz6DGcccd1yfDNriWpmGRvmBBENP8Gm3QxquTyK7BRmW09kmk6drKXH3W6mZt7lvvkzv1hm+06uf935Xm7gnPQL7RiupmXW7lee2T6Yuty+1A/EskEonE4COJ/CTyE0MMllmUe0pznX6OcKUcIV3XBUpkkcdQnPtDR5mCyXppMHHjjTdGx1KHCvFMedexFBadMJ3y0047LRR/SrxODGX/tttua84+++xQ7v2mBLr+N//m38QUVZ1RViDuC3slRlky6ZzqqCJJWVCZkilu4i3ddBKkI7c6S52Eiy++ONbBFDcdx7COKXGVr4g/HUi/WeLUzoKOFbKfsk5GdLoQG7/2a7/W/M3f/E1YRtmE9QMf+ED4Z7DA+whHBIK0kzfIfd+Qj/JTfggHZVt6fvrTnw4SptMHS4YCiAWdV5tUy6Mf//jHYTGos2uQi/WdfJGW5Fr6m0b9wAMPBEmBnJAHpf3o9THRqUB+XHTRRSET6jZ5q/52VjfJ+1oHOpOPonv0vp1IjE6QexbUxxxzTLRziDztjXaOnqCd0t4gBJ3DmrO059ouOgB9QRul/fFMXVn6C0FmaR/pBfQGdXCnQF3x53/+5zEAgexllOAe0JWsvc0YglW4dlq7TudBDmv/6QrSULylhzabrlQHS/ymR9KN1D9f+tKXog5qd6gbEfVmXchfug2dUl2p3aQjkwn3DYRKn8EAv0unMfJAW02/0m5rsy0tQ79C7pNDehc51c5fd911UccLl/wil//jf/yP0L8MNJBNuhc9yvVv/uZvhp4wWmHwheW6WQ7K6mggbOWpfoylYCb0Gmzok6wpbtyycmfVvjY3ZIxsk4/+8KxVF+Qf+dpYbOr7iUQikeh8JJGfRH5iiHHZZZdF51UHgiKs04rIZ/VyyimnRIeVkkcxRBTp2Onc6NRQMnU6dDYQhzoO/EDM6mCY5ouM1enR8RsMIOut26hDo6NV5D8UV512JKaOCwXSPaSxcOp4Cr8wmXJssMJ6jXfffXdzwQUXNH/913/dN0VXJ0CHR0dKR5bSK97eoQQ7SxNuxB0BjRwF0+s///nPx3Wn4Ec/+lGkmTwiC+KGpJceOuhkQWdfh1PnXLx1mjzX6Tc7AjlIFn7/93+/+dM//dM+gpjceK8uS6CTLx/c8w3p7ayDKl3lDSuf8847L8gDVny+QeYSqwNp8pd/+ZdBlkh/BIPyR0Y/9KEPBTmFkJIP0pYsyw9lRPkwYPWf//N/DvlNdD6UISSGskoG6kCkcqpMq8eUPfW0Om5NnflEYqxDWbn++uujnrQsx2iEZbi0+QYg1BHaB+2INgFYOxvkuOOOO6L+0OZrR7ihc7mnPWFtS0903HLLLWHE4D06JP2p9K2iPUckJ9YOeaBuJnvyouZJva5u6n1u5QO9iJHFL37xi8gLM0O08a1krXbBtffaFXR3uqG2i5zRZ+iI9G6yI050G3Inbg5ppU9BxqSH+Lmmh9b2TvowHuHeIF5NL2cyDdJUWtKffEtfgT81vaq/zjX9hwvCZCCS3i1clprZs/S1hNfmtiTDHgHK5TPz5/cZyPht2RvupaM18Ol8/Ku6t7N0lRbeUdb166yBTz+QH9aTJz/Ks7N0kK78kkcvl75VXfpmon5YCQ8/lf06y8nh2cKij6gb6Cgh0+Wwzr688T3pKq9q36273JdX2xWZsAyONfLlsz4cP3xncvn26yVO5ILfwpRIJBKJ9kES+UnkJ4YYlD8ELIsqS6xQhijNCFqWVBTI2lmjNJZCE0qUjqDnpfz0kekULcoi8lcnEYHL4t2SLFVx3lSwGmOhxCqK0k7BpPAjiufNmxeKng6B8Jl2bKqtwQXKrQGLUn5C0WRhZpMsS8qwGBc+YUfOixe3lF3+I8UouZ67b4CA//xhpeYdiquOv3TsJNTBGQMj0s/Zb4o1ULRr5921+LumcHPrtxkNnsnrmgfSjTw46yBJI+4dyER5RPbIV01n7in+5Ew+60CYml/DkvgVyCJLPulIdg2KuJb+LPmQMvJN2ZSWBtcMivitLEjzc889NzpAiUQiMZqgfkM60RHUd9okv1tBd9GOQdVrtH0Vtb3Tfqk3+8M3Bkuv6WRIY/qPGYmZHhsGMrcm2doQkNNWHanq4huDdb27Kf6uCwwOGMMoZ8qoskrHppfrS5h161o86Y/0QnJmwAnRTWfUPwnSuJRf79YZt7V8K6uu6USIYzqo75g94pr/xx9/fLhlUKLPUN9RB9BD6bDe993h0PPpbXRkBLdNbsXt+NJvuenGGyMNZpZw6KtJO3GPNeWLG2veG4hkxASvFx1/cdGvkeL0xh3Lc3GJwbaSpnRA6Yxwn1bSV30p/XYu91948cXwq9alXSX/Ny/ptrT4x/9tegfzpBPine6uL/b0/PlBcrxqRlPpL/i+2dmxB0JvHYElMdvAN0FfxACF/kURtPCTvNm010AMd86MVMQzBhhKHgmDzXx3KXmUSCQSifZBEvlJ5CeGGEX+g4ilfLG0pjg5KM0OSh1QeousxXWRwVAI61RWyhWli3uEYilYcY+CR1lkATIaO3jSpj850IlAoofyvJHQ4WARpjORGB4oY8puhd86Nwad5AOCoBXymGWXsqt8OyfpMjogr3XmkQzqaXWuTq6Od2seu0c+yEmt39Xp6jFl2AAmMsXgp/qbTJGVStKRmWrR6GxgyPNEot1QZ3eZ2RWWnaVMIJnoJJYmYbSAoKObkHkyriyoJ5UhJJ5yQSfiDzlHlio/zsqGsoVoMyPRWb1bB6nNdGq3siEdKjmJEK3xAHUDqBOkgbh4VtuLqgd6Lwi98i437rtGNtYBD+75434917qEf+7V741lkBkGM7XOVo8jVcmQPPCcoYj0AulYZUoeaM/pAPKTe3nALzIufauRBLnnF12V/NLV3Dfoj5R2vz6Xf95D5MrPaglfZ51ae36w5Roxaw8mbY7vsxDX3iCKK8GvvEoL4a4DRmRROfdOTQ/PGA4h+PkrTtzVfoo09JshDoIauYzUrvtESU99GH4yRPK+NFV2/Fa21Rn2lhhqyCvxkh/adpvdsq6Xv+IhDciGGQ3irozV8izc5UezylHipJwi1MnYynKQD5vm1rzkpw1qLeHDAp6l/fiSBohy35F+4i9ta/vvu+SD+51L3tR6w7cNPPBfea/h4n/Un0VehQExL/wT/C5naS+cjxW5NBvA4In3+Cu+/OWeO/GYVMIhjOIgvxyJRCKRaB8kkZ9EfmKIUeQpOgIUpU5EKb/R6WBlQ0EvhTri4gz9f1P6KIM1vt4Hiqlryj433DtTLCmu9V6d/klxppSW8hd+OQP3njug9VvtCOHTSaCsg2tWMzpTFHXWTTa30pnSyazpAeLF6smAjs6ntGP57b73pRf/QXpIQ6CE87tOqZXuOha+LR1rGkZnJLFWSMcqd4mxC+VMR/yb3/xmzApSl+n8IkKQ7cgHZIDOOMIeccE9EgOBo+y7Vv6U8UsvvTTKNLLDTCTEPhKFvGkvlEty97GPfaw3BIlEe0Ebphwg660hrs1SDsASJGb1IaG0NcqK9kdbhLgn82Rce4VI0/ZZygxhz3LXMwQot67pAto97pQtG01r/9oNltRheasMSwPxRs7Rm6SPuKoLpNnpp58e5CriVLmvcaMPiCs30kn9gXCTFvQhMyXVF4hpOoEZnnQm3+AWeUpfoytIO99jRDIWMX/+/KiTa30sjQwauU8WpTPSGLFMxriRrtIRYSpvpHk1qJEf7slXcu0decd6HCHuPn3MIJN8l2fcyCf36WO+5ewbCGz5ZNnFq6++OtzYB2mwUfVEOp9rqLoiKHvaL20OuavlmBvxVc7JEj+EF/hDr6x6Z/W3nsH9+swhzaG68b57tV6QxuS7NWyJ9kTkYMnHzKtEIpEYOSSRn0R+YohR5CkUYB1ZKOUhCBxKvA5CK0x9rEp0K3QAdSwovAhanQSKt47DujY6qwS8ztyGQBhZ4iCphF0nA3QoPdM5EQ6dz1I+QgF3n2URuNZxLRVAKOg6OsKi8+MdhJbO5b333htudUZ1EFjtSS+do2qxxq00qZ1WnTLTdXWw+ClMwilt2hHST2foiiuuiM69eNkwTf6Jq/wR75NPPjnioHMvTu7p1MvrT33qU0GM8Ed6SH/y5CAb0pB/nvNTZ9SMDu6qJZ/9GKxNTPGWJ2TPGvnIlsT7If2sS0zWyB2Chnzr+Ct3ZJIMkkv5QFZ1aqW/dNf5lZ/8Iduey3v5JZ/ku06zfNBJ5k7ekBcklXKVaC8gLNVhtS5S7uSjPJO3CDYWoPJP3iP91aOIkk9+8pORpw5LHSAqDdKx5lR/KqOVgCMf3u+0jb0TYwfa6EogKxPkWjkgt+pJ9Z973LnXqhO4r65zD7znoKdo3zwHz9WpdA1lxhIg3uO/++0G+wshaoWXzqMtQPCKv7hLq6q30X9++tOfRjviufrAu9qCWhdIK9bdoJ7hL7LZwL/36QbqGoOH2hHpRq903295oF7S9o9FkCX1sTpVm0x2pK/6mPzIBwOodC15oz13X/r77X26Eh2JrKvzvV9l2EAuvcCAq7bBMzrtBz7wgXjXOwZW+C/fhUPeyUsQDoMDrNyFUxgNZg0lhF06DBZqmXcG150CYaaPyXdpr14hE8qZvJbH6jZljkyQDW6V65h9VN5lFS9NxdszqP0g+p2151nEqwf54ZvKJ5mi86kXLFvDsl99pw7U/gsHfzxXhpVleqZnfpsNQbY2o2sWOeO/fBUOcVleflvjXtiFWxhY6osP2RZmVv2YFEv+vFfcqTvE7Y0S/22LjHLLLwNewsIvy+xsXuIxX5kpz4SF/w7hpxuJg/eEPZFIJBJDhyTyk8hPDDGKPMVRp5ZS0ExHr8Sr35ShUk5CsadMUSI9Y3lmkyTKJsWIEqhjZ1pr7eCdeeaZ0QGkaNmUiyJXrdl0Bj/3uc/F7w2B8Nrwlt+UR+Sy71EmKWoURt9EoHNbp9FS4Civ3BqU8C5Yz9+7FFjKoTAirpHbSGdxpYjq+Ojk8A9hWiqQUI5dswA07VS68df3+SdNEd/tCnkmjyneiHn5hJQv9UqkFYi/5QjIgc4hBRgByD3LLZur3nnnnSEXOhn8cJ91GbkB96U5fx01LfkpPxAG/NCZkH4OHcgk8tcM+VBlTLpKN511HX8yLL+cdeSlLZmVlvJUmuukIXNMr5dPt99+e1ibKQfeUyaVd/7IQ98ySCWP7S+R+dJ5qHlbiRpQfynfrfcSibEO7SI9YDRBOVcHIMqQusgtbYc6QH1OP3KPzqSN10bT6+g57nkH6Ff0IXqDd+h/9B7p5R4dzHN+uad9r3okaE/4pc2hT47WTYVHGvJb3ta6Xbpr9+m0ayPLvSNPocrBUIP8KG8GmsAgUJVJeiT5M/BDhxEm4RcncaH/kD3uDEQYeOCX/gXQ+8UJ2Qv8qX0A8onwJueVUNY+ep/80uvdGymIk36F+EkDZLdNY6UX/VjeyEdL1liaRhzoZ8qaPoeBeJvGih8/uJ1U3FqHfkb5Le22Kmls01npIa34e9ddd4U+ackc6+EvLt/k/o3XX2+ml7O0pVMaKLAEjryg31vL3sDADuWZTWgR+MK4rOSZtfUNBsgL9Q8Sf4vy7SeKfrplCbP0Fj8Ev37US0X35IcZgsIm3xeU7zs/of+1224hz0fRYR99NJbYER77BpCPm266KeIj7uod6SG+VZ7IGL8TiUQiMXRIIj+J/MQQgwJF8aP4mE6t43XjjTf2Te+ldFFokfOUMmQeBcj5y1/+cvPzn/887lO8i2w2J510UijCLH4Q7L/+678eyrHnFHVuqmKN8GWNhXDnx8bAtxylHITflFxnlkUs5HxbHClzFFluxQuEieLqnrB4T1rovFLgKac6Nfyo8K5nNR7c8t+hU8ovcPYehbh+rx0hnPKqdt6GAzoc0jnJw40H2SsNWJwRJ+TYdS0HOnSIeKgbuslrbpRpso+s16l1v5L01RpQR41MKDdkW1lgWcn92WefHd9LtAfIgQ6qekYdVOtSZUxZQ4jIU5CX3Dlce9dBHrxbCR73im4UZ27dV0+4x1+yUv1MJNoNtX1WtznIKjl2X71GhtWVVf6rnHNH90EGqScRQZ5px+kInrNO5rclRwyouocQrEvOsELnVvvPD4Sj7yKWfDORAHJV61MySY7IjEFzupF76m8yRK7omuAd7XmVR8/JbqfCbBbtF6MC8UC60jVsPqtd0vdA7ip3jA3oItoq71SS27X0Uc4crpVhfRUzyvhr8IixiOd0Iu0fYyTl/dprr41+iMECBirO559/fl+ajwTkubBpa10jv20aSy7IgDpJWsRAxquvBjFuMIM8Cbe15pHk3CL76WzkyW9ywy+bzZbGPfQ89SS/1XkQbnrr0KoHIvcR8uSTDKr3wLV0hjDgKW6f653BFzJc3l9aZDt0k/K9rUr+vVne4Z94IPvJszCKD9J+SdE3qmGKcMkT7wsHLUV8pQ2C3rsGKMSXvkOfVdcqS+RAOMw8ERcW/gh/cUokEonE0CGJ/CTyE0OMIk9xruRPKRShPFN6KT0IHAodd565dvaM8lTKT7wXylVx671W0qcqS96pbp39rqRRfafTQGGWBp0M+TgQIl9c5fGmdmx8D3SsKvhb6rHeX7+CzotO6pqeJYYfyq38q3VFoj2go4ugqNa2BmgMaLKcU1/rjBuYUYbrtc66ustvJIkOL3/Uy9WKrXbiEZAIS+4RLDb604FnKZdItCOQg2aN0SuQTmQXEUh2zVJCEHGz3377BdGOGHS2DAnCCBlvZqL3lIc6O0xZsaQZHYn1r28oT8grZQjpiBxkDes95U+9SX8y84+/IwWkH1JNXIVN2ijjwi0u0sm1uCFAWeurT+hn3lUneAfxJl7a5xo/dYe6gj/qHe07t9KPO0D01fSu7X+15ucG+WbpFvqAusW7oxnS+uabb478QDRKE2kuTxzkTbpXy3TLVEonOpi0IlPaYoQ3S/NOBVlkeEMOyBo5084oK4hd7RqZIU/aImlB1sRZGjjIDFnyrnaOW2mK6AWzf93zHn3XM2lNzn0DyUuuybL2EzHtWyOp67T2kdYF7qDVbS2PytCa/Kn3uKllcV3u1ob63Fk+mgGATG991orWe2u7hjW92x/VTWsc1oXqXhgtOZRIJBKJoUUS+UnkJ4YYRZ5CwaFAg+v+CtSa7q0PpVxFJ68V7vFnbUrXmt5ZHyjwl19+eSjdOoHed883StmI+Lnu/23KH7cO97jzHjeUfO51IGp4dID55zm3FGQdAvekj3d0rvirM1HDgBTQgd/QeA0XhLeVyBduyyzpSAqzziNSQsdKp148qyzoXOkIeV8HU4fIkkQsq7wrPaRFJQH44bkp9fLLt6WdDoB01GmSrvxEurhvaZehXpe1U4FwkWbkUfrV8iPvpKu0JIPSvw6IVLlU3rmTd4gB/khveYJY0BHUIQbuq3zwgxvfkt+u21W2xwrkqSn4yAoEJSKNTMhTcuA3S0bEkfKL8CATxxxzTFyrn+Q9UlJZR36QAeWcjCDtlVl1gW+ddtppUfZzRk2iXWFTWhbyyEAEHbnWhpN1ZYX8q8vqczOR1HGs7BGF6j9+kH1lCdR12iJ1JqJZeVEHqwcR1No7Zc1momYfqheVP99xZuk7koNf2nXlnF6jzleGlXPhttm19LGsBmtl7a50QrCykPZOnZmpLmHletttt0WctOvabHG3r83FF18c/nLnO8jqqmNUkpQVrefCIL2kD71BO+Xeeeed16eTjlaQM2kjvaWdNADygmQ2OGTwg3yppw0YqZPpUgZWyR7ym4waaKptdGLgUKbpN+0MxPPrpYxaF77WReSATMhzet7aoL2u9U89BqqvVR0C+qcT6/dppaxW8Lf2C2BD0lVdq6zXdwbSD+SG2/pNfqhjlBV6q3KxJlRduTWsiUQikRgaJJGfRH5iiFHkKRSoUhhCCdKp0wnVWaDEURKLjAW5gwjSQaNAcU+R9D4FSkfOdd10k4KJKNJp01F2X2eZn8gmHTydSgqbezqKvkMh84xfLJEG0vG1hI9OqA6gcFFexcVZx7ASyfwGcRAXbn2fUueZdBA2a7aKgzXy3fOc/zpWOrI68zpY3vHMOzq0Or3V+kwnS9i9/4lPfKJPIW43CF/tZIM4fetb3wprp9rR18Gu+wBIG3mlIy9NpKsN1M4666zIPxtgsg7WSTWIIc2khc6mDn+p85q//Mu/DOIDSSiNWEYiDpAt8t41UhJR8tGPfjTcJlaHcmrzUgSANJRXyihZR9bKI+VU3pJR5UB5cC0/5BsyBRmrrCETnL3PjTIrD2o5VR6UKaQLGUH4eNdvBENiZKGerXWMfFQWnZVrMuCZfJOPZENeyluy4KwulPeee4+8uKeMukcGyIRntS51P5HoNGijyTrr8aEC3Ug5UQe3C+gsyq92FjnvWjjVDYgvdQY3yn5tSxzqeXWIekKbTt/hRvugfkGcGZhXRyDqWTe7rx0CbZP3pYf6xvf4yx/31UX8Q16rV7w7kjMXhhNVv1TXgjOZqfecualy1Hpdn5c+bN87nQpyR77Eg15J7wRxpKM7a7fIUEVNK/JHjpDBnrumF/FDH4KcV/kF/tOFKtlL5vyufktPZaH6P1IQX+VturJR9Gmziehs75T6y8awyo2w7lbKsuclwLFW/BulvE0tcaFz0wuWlvQhXdasR74vL/Hdtujvyqv04f/zxV+yJY0si2Ot+vEl7tsV3U6/Tfrwj182nn35pZeamaXMTynfoSOE5BX5kwfSU9gPMlBX9FT5J0yTe/UFv7lRxp995pnQZX1HePQXDMAa5Huy6Le7Fjfqa/0J4bQkDnf6bzNKWC3Xo+5Rp9i4W9zEUZ9B/WTDXDMEyIjvGoA47PDDRzRfE4lEYqwgifwk8hNDDAqazhXy9oILLggl98c//nEovxQtypF17BG5rDIpQ5RJ5GHthPHDc8oVspd7SjHr6+9973vNiSeeGB1G7zuzHnL2HiUOiUiRp1RSAItMR9gQ5tbcXx98l6LGSolSSUkr5TrIaN+oAxC+RRml5FMOfVc4xUF4fNc7Orqm0COYxVHHkoKLvNZJFVedU4f3DWLoRPkW9w7+e8895LYwtSMo7zWOFQh3vynb0rGmZ81rBJ70FmduPEfmUrbJDdnQgeDGNXfSlmxVgoB/0rRUwuEHuap+yiN5JS/5m4Th+yENbW5r8AghRS6VK3kpXcmmNJU3yrEyXt3oCHkur/xWnutgiXsGCKS7PJRv8gfRorNE3smMTpLfNnNem/VTIpFItAu0Oeou9VYikWgP0DfvuOOO0DnpiHSOWkYNOAXhW9zQS/QpXNMP6YX0UboIgwLGQpYZosszJuGWG0YHdBR6Ov/pPs6gz0Fnqvq7b9f+AF311FNPjWcjAST+00XHQ9rTwfSjHn3kkbgugQodjX7n4I6+J750vR2KDu2abje1nMVn4qRJYd1vY1yEN13vmKK/6XN5/nrR3+NZuS/u+kJI/cceeywIdc8nlHxxj18vlHSXN6+VvptBOfoinX3H8h4cVPLk7pL23tE3c1/YrLG/a3FvMIGxDsgD30TgW9tfH4C+Gvs4FX1VP0H85Jc4CcuOO+0UfbUTTzgh0oBc6HfV9e8jTq++2nSXtPLd7UpfxGa8NrpNJBKJxNAjifwk8hNDDEqhzi0FDNlNoUKqI/sotEhwJB83lDEKE8UWWei6lJ8+og+RS9nyDFlO8aRws+SkOLO0oDQCpc17LDhKQYx3wHeKTIcijjBn1b8hKOUjOgHCJSxQvyNu4oQE1Wmg6K4J1d36MFB37QzpLR7Soz9a0zDRfpBvyik5rh1P+aV8KlM6puTT72qRVDvInoF7yoyyrNyBZ97n1jecq/tatshNp8v+aIM8qfUnEkDdazkcg7E63Op3ea0zXK1fyYYOsM6t51UGEolOhmVx6BrIOzMMEU30Gu2c+zb2H4v1l7qbrlf1Le2Ce/Q3UM+rF6STukF9om3QHvidSAw2GCQor+TMoY0ij85mgyCUzbrVjzAjVN+ADs/YBnns2ka1Zst6jrS3ZBEjA/oK94wd9E/IMznmN5lmze23/omyoE5gsMOIxzP+aS9HAvpLCGllsfaRqvGQdFKPmfVCRxMvcar6Hr2Oblj7dcAP8G4ty/yuut0qel1xwx2/fEfd4Dm9YPGiRWFV73ueqSfcX1HcIvbd9136qPf5XcNWyX/XDu+D/Kth4Jfwywsb0obuWd6p8anwXH/OPXkmfvTfGif+OOK7JfwlQs1KR/mG9+q3E4lEIjG0SCI/ifzEEIMyVgrCsHVqKVdAmVwXdLop7usLFwXQAANlu5SFcC9OlaT3PcosS42qtAOiC/FJEa5KpHSoyqh3dCZcA3+E2XN+UAgplL7HjXfBs/qNToB4iRNlukK8AAHI0km8pY+zTpP0okB7D0EoLUq9FGm+vnxNDC3IYSfJX2LwYAkspMWXvvSluP7FL34R9Vut45Vx5ZaVIRLAGtdmJSHyER3IfBZwiUSno65fT48g83UNd22UQSwb0tIHxlJ7RedBnLFoRVA6qxcQhohQ6YPEVB8wotDWqz+QhwZCWMtm25IYCrTq4GSs6tut56pbz58/P85ktPTfQ/+uz1vhd9XLodXvqrPXd1w7WuuD+m5/fxOJRCKRSKwfSeQnkZ8YYhR5CkW1yFH8plCbSonk1tFtBcK89R6F2HRXy3NUBZgb5DZinUVItWbRaWQ5warEN5FL1QpsU6CzecMNN4TfvqXTruNpEKCU7SCqhJNFj5kFnrHyt/GbOLLOELaaBjr+rIC40+kXX/66rxPMTxY/4sGdzjF3SG3xZgFk47hOgbRpJfKRH9/97ndjSRxEPnLP1GVEiLy2hiUiRBro+EtnB5jKrHOVGHrIM+lvajHyVf4ZgLFfgaWclANlQ36xzCbnnisn3vNbHrKGq2sV69wqx+Q5Cd3Ogzw3AKleY6Emb9W18rUSGPIZaV+UnxjcVI+pp7mzlFkty4lEJ4M8k3Hyrk1WBrRt6jZtuHuOsQS6CktjaeDQdtR23VIWBuT9tlxbTTP604033hg6DV2grnufSCSGFuopbbM+mbpMW60+c63/pF/it7qOWzodN+o5eoA2f0k5YyPo8/Q/B71vXNHzFhYdQXvPncN71rLfueiDoA7gN71CGPjhbJa2vo93fNe6+ZbP0X+q/UDwvj5RIpFIJMYmkshPIj8xDCgyFVNRrUdPMbz22muDZEcG+U055IYCR/HTmaMonnnmmc3f/d3fKaih0CG9dQ65pTBS4hCHOoM/+tGPYiospdB9FqEUT53HUhBDQdSZtL7+hoDyaVouf4UZSUmBpOjC0UcfHb9vuummsDYTB5vPXnnllbHGpLD4PiufqihTUN0TR0tTUJhZuCKwEdXip5PLGt19YRd/35E+A1nXv13Qn8iX5//yL/8SeSVuRx11VKSFuCGJDYaYosy9NJceCEPpznpf3KVNYmih/LC4lgeIeIMtdV1RRK78KG1DkLPKSC0TOlrKpjwl/9yD5zZsvvXWW0PmlW3lIZFIJBKdD22FNkC7UM90GTqQM3Jf++DaoU2gn3mv6gDcJBKJoYe+CqMqUB4nlfKnHCLN9VEYFtH5bH5bbsTmtPvtv3/MqHm16H/IeoQ7Mn9G6YcteL1nI2sbvtoQlqGH/op+DuOP94pOWfVHz+w3cPc99zSbFzcMmRh30P2XlbCAusKgAH+tPW/QYacSHhvcqjcQ//oLwppIJBKJsYck8pPITwwDikw1119/fZDolC4W7gh5hCzFD2Ft/UkdOQoeqy0W65ZwQIgjAK1Dixi0ORVFkuWX6yKfQXKzCkYOs4yvG25SRBHBlMEHH3wwrIc//OEP94ZqYCiFuM9ixUEprSRzDX91g9BETgoTa1TKpjh5Dt71G2pHlx/OnlFcwXvu80/aIb91hv02WOCbnYL+RL50ki+U8IFCWprVgACWVomhB/ls3bNCnhlwIos6b/JEuZKfylrd+Fm5kOfeJ+uOKut15olrMpzWl52NWieSD3muzlIXy2+EnGfkxz3PDA6pB+S/e+ozdZ0jO+OJRCIxuGBAYiBefauOrTom1Lq71r3a9lofq8+13d7TvtM/6QPcauPpAAbztekMbOiv6njGM3QFbQA31d86E4t//K3tRWLkwJBGXjKGilnGpe+yebl+u+SffNZeryj5pc3Wr+kq92xyy7CJ7qdvMr3ocda9d01G6IDLir7Pz7eKjuievDZLj87IT26nlPs2jZ336KOhCy4u4fBNcjO5yN/y4g8/QBiLsMZ33CNP/BQm/YjsEyQSicTYRBL5SeQnhhmlUIRiRpl3TXnTuaAA+k25d6ao6VCU8tP33DPu3eOGH0Ve+zoH1X9ugB/edbiGIs9xbjdQcGtnpwLRpWPUyZDurUS+/JGXUPOsP1jlUNBrXsv3gYDbKk+tkI46KgZ+1gZytLbwJBKJ0CNiZoYZUs6WD0PiKM/qKWSOOhvhY7NPg6d+68BbOsO64gh+dbB6gXskEWu9dZXNRCKRSGwY6DyXXnppkKhVn0bsM4ihI6mL1el0pqr7MJagR5kdac8CJCty1aA7oxqGMQxr7H/incMOOyysupGr6vXDDz88jG6g6trqf4Q/PYzVtfYBCXvWWWelzjWCkB/08tpfWg1FT2cZb1CG8RA3rX2rgWJ972yIn61uNyYsiUQikRhdGC1EPparf4sWvw866KA4L1y4cFxptMeVsIwrARw3Y8aMODvcKx+LcwlI331HiVCJaw8uvPDC3+NXIrEpoHxR3otIBUHr7J7rIn9991273/q89dpRr6t/9d3+19Ufx0Ch88K9s9kEZgqUMhKklTVe3Ue+mxnAf0SwaaO+aaBCp4kSzHqllKVwq8NT/RC/ui4+QgspZiaCe9zFlNXij++wRnc268A97pHjOmK+3c4olWDEVxx0GsTjG9/4RqSneJjeq3NpQzwEvrTSSZQu0uyuu+6KeFtPn9sXX3wx0sh6vOKOCNQxrM/ljU4layMdWX5I81tuuSVmatx9993RsfS+/PK+NXx1Pvkr3eVdIpFYHcqH2VDKkTKnTCtbypCyrdyp/9yrS2IhC7hF+CvTyjfySD2mXCOKkDw5OyORSCQGD3QsFtHqXeQ7fYmOpS6mO6rPWdUj19XDZsY6q8/paQ5Ll1gqj97lWfVPfc3Ygr5E76Ir02m9Q7/SRqj7q8W072kb3DcIbDBBW2CZlcTIQL9prf2Hcl9+yfPqZmP6Gut7Z0P8bHW7MWFJJBKJxOjCV7/61RvLqbu0Cax1+87lcO47eu+v9Xc9ii6zqrugnJ3Cn/q76CyrnUtft7u0k91Fx/G7Gil305nc04ZqZyunpD0FK5D0hxatf6sWv9MiP5HYcOiMXHTRRc15550XHQ3WSTpAlgNiSaRTs//++0ehReBzg5SupDELqFNPPbW55pprotOD0NIh4q/C7p41wpHJ/NUpQopZeojfiO1DDjkkSHAVgcECVjEGBaxJjjCjyAofAq2dIQ46dN///vebj33sY5FWF198cRCCLHGlgbjpVLIAM2VXBw/hzspXeqr8pLVDh7C6t2Z+HVjReWTVaxDEMi86i9JcB9Y7V1xxRXPBBRc0V111VaS5tT/lnfR1RvoL2znnnBPPEonE2qFcIoqQPsqbMkthqWXUtXIPLPFZ5CvPFBxulVPWn+pTdaJymEh0CrQ3d9xxRyjo2vVjjz022i6yrM1TPhCYzu4ZkLYfjGttt/u17VFW+Ne6fJwyAty7dvaOdo8eQL/gTyIxUJBLR5UpOhJZY0BSUd2QrVb5qsYnwIgEkPpQ5bP/NX+AP9XPCrJM5odjAJduVzdeNvBQw1XPtazWMBpoFi5lW1zp9u7XDrk41rP7BjL4TU/XxhkQ0RdQvrnjX52RYGBDm0nXFH8GLJaLMbhS0zORSCQSicT6kUvrJJGfSLwPpeAG2a5j7pqCznKJUk7Bp8AjoEpZ6Vs2BoFVykqcPUdcIfD91hFAPoNr7yHkveu5s86GNf5Zr/qNHPAOq9XZs2fHxlA6AiyadKp0FBDfvtnOkBbio5Oig+c3Mk8c3Bd+cfW8upHm0ttSQ+Ksc8StjpT3dYKkV+2UeZ+f8gSpr6MknbzvkOZIRx0snVdEY6mXw1/vS0t5K19Yp7V2OBOJRCKRaIX2ySy6n/3sZ30kvrZJ24O0oz8Y4EIgaq+0Y9oVbRx9ASHPHdAp6BiIvzqIzC9EnzZO++YwgG/wm85g6apspxIbCnJFx1oT1vWsk2EgWblUBi0LVwl3VnGMbhh2mEHmvv0EuFUmlWH6qXKmbNIf6ZF0dIQ8gxt6vLKsPNL3vUu39A6dlD9mh9Ll+Ye0p49+9rOfjcFsz+idDHu4TSQSiUQiMTAkkZ9EfiIxIJRyHGcK/fqgQ0SR39SONoWfX846AIjsToPwI+GRF8MB+eSbnZhWiUQ7Q9lyGPQyIGY5K7NgkBQG0RAXiEubiiMeiwIUA27Kv6UUkCfuIzAtZ+U9B3JEXYmgRIialcSN9xFLyBEEKJIlkWgXIOb+8i//sjnttNOaa6+9Nto4g8Jk2rJtSHnXlm0zoMzq1jvkWjnwG5lHp0AMGtxm3au8WGtcOaiz/5QPZQEBaJZZIrE+IK7VnaBuNrOR3LEC33PPPWMGCCK76rbqdDJGLulQiGUkd+kDxvPSN4znDCGAP9WYgr7FLQMK+qp3fNO5EuMGtjZVJ94YPP744317A2hDXGtztFUGxsRVHMy8NRNWeVSOxUN7ZEDN2fviqU2Tjizt3ZPOJ598csy64Y96QJyll3LNXTUUUQ/wX7vJD4MJ0pOhjmeJRCKRSCQGhiTyk8hPJNYJnWsdHJ0byjilX2emlJN4hpwCyr6OkueeIZ50yL1TylAo7aUu6HM/ENTOVydDerQS+aVSjPTRUZImOneeuw/S1jsOcfdMx0cHqm6oJh25A0SHac2IE37IJ6SizhaS5Jhjjom8qOkvP0AY5MVIdCwTiU6E2S533nlnLFGFnLDEB+LRIKPypWwhR5RVYOWoXCI7kPTqUWWVhXLd7+MjH/lIEJ2ulW+zklg71+UKXLN6VH8gXRKJdgF5RV4iRW+66aYoBwagtFcGqmpbRJa1QdozesLll18e5J+l8apOwI22ENGvbbz66quD3OO3Nq8S/crEhugQibELluOWd1T/zp07t/nkJz8Z9fSNN94Y9ax7BpvIpdmdSGVySN7IsgEk9bl76mD1dJ01yjpde6DeJtuee4e8uq99UGcjw8m4mY50sdo2DDdadcZWtOp/9Mf6u+r5Fd5XrteE6rb/GVr9hPqbfqodhDWFK5FIJBKJxLqRRH4S+Ykhhs4uRb8q8DqjyNlKUCOrdUy5a0eLFB1r1nY65BR069zqaFvjXSeGZQ0FX8edYs7ShxWeezo8niObPSsVQnPSSSf1+rx+1LTpZLJZmrUS+QgMJIW0Y81FDmxEqyMpnYCMeGYNfOsQIzGQgtbTl76suyqpz/LJ2vs/+MEPIq0POuig2CzXM+599+yzzw4SUb55r1r9fuUrX+lb3iCRSKwbSCDlVvlRDi0LoF4rOk7fUlfKt/pe/YckYvWpDlCHFd0iyi5/uEGC2sdCPQm33357LEmGeFJO+aXdYOFv+QLlO5HodCBG6ROONUE5UTaUA+1YIrExoEch1NWlCPW6r5PfQM7U3Q6W6gaZ1NXcqKPpsQ8++GDfMpDqcnV81eX4T0dVt7PsR0jTcenM/PRO6/4piH5uOhnipW0bKMRdnKVnNSJJJBKJRCKx6UgiP4n8xBDDdFNTW5EwOhOUe8o/YrYUkCBYWeuw3ES46ii0E3EtzNbCRdwjrc4666wggVknsbjTuUEGl3ITCr74+U2B1zHSeRH/M844IzpIOkcDXQtzNBL5On8/+clPIh0Q9NJMZ1Fnh/UtSy+dPh3DUh+F1S+Z4J4sIRF1iEq9GvLjmqUu8l5as1hkNWxQCBGoA2VdVGfu+WH6t2/Z2LYOKCUSiZGFwQHlMQmPRLvDjBJEPKJUG6dtR3gWfTl+O+g22jBtnIEubVta0yc6FWSantZpMHBhYEy7opzSLenwdEK6Jv3a+vb6IWDwwTNl21lfhS7ptzNdVDnml3KtH6Dc0ymljzaMgYmBbPd9n1EJfde76gXP9Cfos4lEIpFIJDYcSeQnkZ8YYrCyNIUXuV1kKZRdVtMsra1HOWfOnLC8Zi2NJKfsUobbBaUQ91keUd5rZ8A98XGNpEb4OyOtdd7rb+/pLOj06wTAQDvzo5HIXxt0bmBt62CXeinSelNnbbD+1fFKJBIbD/U1KJfqQvW7urHoO0FcuocEUfc53GdVrz6rdZq6ldtEotNgQBhxf91110X7dthhh0UZQOCxuLcsjuV26Ahmn2j/lQ+6TiIxHKA/IqydGTnQrckiqJvV4e6pm9XR3NG9yan6mSyrn+lc6nlu6HPqbe8wYqGv0XfbGQxFLBEkzsqj/SduuOGG0NEtFSSNxFe8kfWnnnpq6Jp33313GH2Is/vaLTo8XVV5Z9wj/sp71emliwFpM80886570lZ6GwBk4GMwAeF/9NFHd+TgSCKRSCQSI40k8pPITwwxKLCUYh0CynKRr1D8nT3TwaVgO1iodDpxPZiQPp2eHmsj8kvluFq8yIOO4oaCbNWOJPJQp8hRoeMkDVs7m6yzWEa1on94EonE6jAIa6PA4447LmYpIXIQG8qWwTFEhbKHKLERLihTLJG59b56QHlUVk844YScEZPoSJhBSJ61GwhPugvyjvyzwEWQmrWnDffMPZa9axuoTiQGG2TP8md0K5bjdG2W56zB1b8OejmrcPUwIwfyi9BWT5NrejkdS/3uNz89M2jFgl3dzn07Q5htzCsuLOPN/LV/kjgop+KtHLPE106JF521zhDTromjdDSo4b40kx7el7buK+POiPo6aOI9aWpWrnQ3mM1N1Vt9sw6uJBKJRCKRGDiSyE8iP5FoW4xGIl/n0TI4OlXAIgopwqpJB6eSHnVGA+hM2URNJ1SnSocIiYKMd+/0008P0sRAgA6S90rlG2trmxGiA6vjpUPFL8v1SFdWatw5kPuWPLKMjzAlqZ9IrA5WjYghM6eQHzZNRFgYLLN3iLKG2LHOvRlXyhfSQ7lU3pU/bhGa6gTlNpHoRGgzEHnalaLjR7ujnWmFtgpJV3ToaMu1b4nEcIIuZalBsko+1cNIeXpYJer33Xff2OiWfPqt3q6Dsn6TXSDjSG4ENF2pktWdMhhb+rYR76pXJhKJRCKR6FwkkZ9EfmKYUQQ9DoQpElZHALFDwUb6OnQUSuGJjgTrliJ+4c5v96uVjPtFXqOjXO8hjZBEzvwCfvOzlMUggHVAPEfmtjNGI5Evv77zne8ECY/U03m0UbAOImsosiBfdSB1HOUZK0br4JsizSIYeWKqs/sIfxbCV155ZeSr+2TEsgeIfEQiOZOW7lnW6f777w/S0bRp32WtpZPLsgqJf/LJJyeRn0isA8q1elXdq6yqT/12rUwjiVgjcqcMK9Ou1ePKrHrNu4lEIpEYWiD01cNI+gr1MZ0a6ExV56n33auoehe9vaI+b3ddiRU80CdZ4WuDpEVtu7RTUPVObRd3futT0F8ZmEgXh1lodVBOGuijMEaxTA630lp7SKes6cof7/mm79F5DzzwwHiu3RQmOnLqnYlEIpFIDAxJ5CeRnxgGUG6///3vk8dQeq+55ppQXoFyzcKaIqyjQJHViagWbIhY1tgUYc8Q8tantH6ld4u8xnvWpGUh6neR2Xif1ZD1LFkgUea5d/CPUv3bv/3boay3K0YjkQ8Ie7/lVakfI7+cxVOHRieoPtOx0vl0nz/uk4/aKeLGb2S9jpHBAW51ovjj+9KRvJETnSjvssA3rRkMLHHvvvTWiUskEolEIpFIdC7sZ2HGJ92fvk/PY8BBt6Q70hkNUOy///5hLMKggy6p7wH0VXoht3RDv/VD+HfSSScFcW8GWt3ri/91BgR99ZRTTol9wrxPJ6X7Mli59tprQ4fVT+HumGOOWW2gJJFIJBKJxNoxWoh8TOQaifyDDjoozgsXLhxXlItxJSzjSgDHzZgxI84O98rH4lwC0nffUSJU4tqDCy+88Pf4lUhsKBC0SHlKaikUcSDTWVS7Tym2JIN7rKSRrhReVjDIW9bbyFkW1Uh5yjTy1bVpwSyxkbSUaH5T1p19zzs21aVsU5gp26z3KdnebWeSnHIvHTqZyJcPpW6JeFTIK50ZeSD/5Yez3+4j2511ntz3u1RBcSYrlaj3vJ7Jkvtkwz1uS30W363uXPOHO7LAjUN4+FtlMZFIJBKJRCLR2Sh92SDW9Qf0Lfw28xJhz6CDrrnrrruGHmi2GB2Q3uqZvoV39EEYlDD+8Iwb7+lbVD0S8c8NXdQggf4L3dO3+EEPpp/SMy1TJzx0fN/13OACPxOJRCKRSKwfX/3qV28sp+5x48ZZgqPvXA7nvqP3/lp/16Orq2tVaeO7y9kp/Km/i+6w2rm06d3jx4/vRuKX3zG4P3HixG7Go+7hIvFO9AOoyxBayrA/sHz9mb74nRb5iU4HxZoCjIgdCBD2Co0CRWHuZBJ8NFrkqxd1cnR65JHZGPLXvUq2JxKJRCKRSCQSgwX6Z9WnWc7b64URUdU76as65NVd/9/rglm/SPnaae//Tuvv/v4OxP9EIpFIJBK/wmixyO9Z5DCR6ACwPEHaAisZx7pAwWZBvS5QiqufyGCKtJGvVsXYd5HHSOXEyMHAzOWXX95cf/31zQ9+8IPmW9/6VnPRRRc1P/zhD5t77rknOjSJRCKRSCQSicSmQP+A0QjUPoF+ACMZ+yi1Go8g16G66/+7ovTrQ1elz1aw3tf38D3o/07r7/7+tj5LHTiRSCQSibEDGsDqGkPv77TIT7QDKL02d6I0s1qxDiULbetWmqJqKqp1KoESbMopaxnKLgXcMiis04sYxnIp/Hn00UfDDwMBls957LHH4h1TX02JpVCb2moJHutdzp49O+6Zvmrj1E7AaLTIN6By6aWXRp7qBMljbvbYY4+Y6myqcuuGbIlEIpFIJBKJxIbiySefjKVs9BvoopbJue2220LnpINa7kbfovSTwxDIQT+1vxaDIDqrvoX7tT9iGU/9CWvf61+UfnO8b1DATGC6u9mm+im+o3/jG/ondRBBX8aMAO/oB9GDfYdf9gFLJBKJRCKxduQa+eVwr3ws18hPDBkowldeeWWz3377hZI6b968uEeZpeBSpp999tlQZim1iH5KsWVyKOGs7W2SS4kuchrEts1x58+fHwMDFGabnfKDnwhh/vKDwm2gwPvcUuJnzpzZG7L2hrSSHp1M5EOpCKMTA6UqiTVDdW5mzZoVeyI4yxdTnMlAIpFoHxRdoHnxxRdXG0wFdauBUnWU+5XwqPWVeludrR4zaGtmlfpbfc8P7vlpMFb9rOzXeiKRSCQSGw8GLXRoM1HVtepp9bH6GZkM6mM6mXqYG1Bv06Gd3VdXq8O58x59znvuOdOzudNOaBN8x311ufvcc8t/177vPh39kUceCeOaoYRv6Rtod6xNy1iEYRHjH30R6+O7L25+i7e46nsg4vUzpKPwIveFXzvHUMgz7+mzIP1LBz7SnTvtmnR0j1/6JsJhY1xkPz+0q3WgwSa60kh6D3WaJBKJRCLR6cg18tMiPzHMoKj2Cnko9X5TnFlsU5AJvucKBGKHQswSRgGw/iQ3CCGdB52Fu+++uznzzDPjPjKIdQ0/FR6KsmtWMJ7pTFCgO4Uslg6dbpGfSCQ6G+rn22+/PUh7dbD6tJIU6mvXBlMRGupYg3IGTc2sUY8feuihQdggetTLSIsjjzwy7qnbkRlHHXVUzMTybiKRSCQ2DUjo0m+LeteyL5WE33777UM3Vm/Tu0866aTmZz/7WRhXPPPMM1EPI+S9g6imU7t3zDHHNL/4xS+iDtcmqN8d2gAEOPLZ+96js6rT77333rjWLujMaj923333WEbRNfdf+MIXgjgfKmiDxNWBfGdRXw199AWkR7W+Fy9h0Q5ddtllYcVPB6/t2y233NIcfvjh8Y6006/QLvJTX0ObqH3UNxFvJH6dGSxdhEEeiLu+iHRxGCjg3jd8m3+JRCKRSCTWjtFikZ9EfmLMoshrdCxGI5LITyQSIw0ExUMPPRRW9QgN5ETRa2IwVt2EEDHLhkUhsgJpoe5C1iMoWEByw2oRmePaLClE/v777x/+I5OQIAijRCKRSGwakNUGYBHOpTMaJLXZqOpnVuDqcvW1pWEQ6yzT77///pgZaSDWe9wiopHTiP4bbrgh/KaXag8MxHpPne6eM4LawR/+aQOQ4wYU1Pvq+Dlz5oSf/D/77LPbbiaW9DIAIA1aIS7inEgkEolEYmSRRH4S+YlhRikPYZVSp5qwxkTksEBhaY/MQQ6VwtMUOY3psJRpbnQUdEx0BrjnjkUN6yHXdekG4N59HQqdCUu4eIcfnYIk8hOJRDsAgVF0gbhWt7ouukLUv86IGvfVweot9bt6u5Ih6nPP/UaEsDx0qN8QPNzzp7YLiUQikRh8qHcNurKMXxeBrs5em+7pGSJfvY+QXxu4Q9azdteG0MHNBoDh0sX1CQxisJ43iCDM+hl+G4So/Q39Be0ZwyBtkvCyjtdmae/4IczaKWvb65+Ii/TU7nlX+2VpHf77XS33gX/aRmHQBzKbwXeFo3VwgDvvJRKJRCKRWDuSyE8iPzHMQNzfeuutMaWWck8JNs2Ucg0sekzRNVVXR0MnQEfB7wsuuCAsgpDzFGWWnhRt/pVy1tdBQNofdNBBMQ0YEEi+QXH++Mc/vtbOSbshifxEIjHawXK0LiVQlKas7xKJRGITQScu/bkglFuBaKZD978/HDCAQJ8v/creO0MP+2lZkxZhbp8ufQdpo92xbBBSXfvDaEgfgXt9D/2JU045pXnggQdCF0fWm8XgPv8Q9Eh38bEPAZx22mnh3qy12q9heOR9/RD9Hmnvm5/+9Kej7yJcvs+twQT9H8sYJRKJRCKRWDtGC5Gfm90mOgaUWRYpLFdM2d1rr72CjGeRgrRmiUKZdnYfKU9RLrIYU4ApvNyymrF0A+Waf5TfIr8xVRjBX5Vo73tWN5nQefGsE1DKYMcvGyS/bfDFmqnmAei8yAudp1JRtt3U6kQisTqUZQOv6iQDrpZnUH5vvvnmqFOVaYQGS01WjEgOZ8s0sGD0voHZOiOLOwSHGVPq8Jtuuil+g3X0vafOsCmhb6nfvWtjc/W8eqXoLTE4XOv7RCKRSPQQ2HPnzg39Sr1sPymDpOpPdTNCm15mlqu14NXf6lpukdXqeHU0HdvSaupagwDqYCS29e/5wT2Cmj6nnlcvq+uR9tyqt61Br263nBryvFUXHGpos8THd7VXwqHvob1wFhbP/BZXgx+zZs2KNsYz5Lp2TNulndH+SQvv6qMg96Wx3wYAPKO7ex/ottLIc+BeP0a/RPrIE30e4ZSG+j7aw0QikUgkEmtHbnabFvmJMQTKNWVZJ6TdQcHXiTKIQcnvVOhMIvqOO+646ETpMOkY6dAddthhzeOl46hjozOzZenoiLcKcbNp05p9SmcqkUi0B5TZO++8s/mN3/iNIIOuueaaZs8994x6CimBuLEu8hNPPBHEEPcICwQRK0RLESB5vIPU4B6hhGQxSEv58f61114bChHl5+ijjw4LR/4gjZBCBnJPPvnk5sYbbwwlSZ3+oQ99qKPryUQikRhMGAxVX9flYOhe9Kz77rsvlpRBOOtYqnfNVFU3I/LpaepkdS2iGrGMmDdgipA/9thjw8r8tttu6xuctdeJe+p0ZL53XZsZe/DBB0c41Ol0P9bm9lQZTuiPi3v/c8Xa7ldIP/Gv5P7GYH1hSCQSiUQiMXDk0jpJ5CeGGRR/004ROWtaI7MUmgEpt9yxckH8Ion4x+9S3oKor1NbO4G0b4XwX3bZZWH5hMgq5TKscz75yU92pMXpnXfc0bxc8gKJ9+QTT8R0ZtZOz5dOHuJtfImTjt8OO+7YlFqymV7y8uXye8+99mpOPfXUXl8SicRIQ/1a9IOoU5HzLOaVYUQQkqboCkG4q5OR7QbxkB7Ieu5ZK6rbkSHuVct6dR6yyPvcGwCoS4r5pjrQc/U9i8WijkR98uijj0adaHmCL33pS2tsTxKJRGIswgBntbynQ7I2Z8wyf/78vpmt6m26suetOrQ6Xb2LyK/6OBJffWsQgF9If4MD6nvvuqdu9h4/+GtgVr1uZgCDDf56n84+3BD3gerQA3GrD0J31YZVizvxBukw0L5MIpFIJBKJDUcS+UnkJ4YBpQwE6bLvvvsGkcviUoeBFaZnpaDEgeyhFHODIELc6HCwDtLp8E7tJOgI6CjoXHhHh+PQQw9t7rnnnvCLNZAOg/uW2ukE6Dx8//vfj7ifccYZQZixjrLkBGL/85//fMeR+Tp7u5V8eOnll5vH5s2LvHq3dPw277XMF8dVJT+Xl7z1TMfwgfvvbw4osqETmEgkOh9Frwjr+VZsCLGyNmgL1JHah0QikUhsOOjMMBqJZwMNdXlHurX+hYEL/YmZM2dGv0P/xECzPoc+A7faFQS9mQ3c00/d02ZJJ8uCmpVmhoFZaAaZ+aXfUWepGexmUGRQxaGdEgYDAPowwkAHfvzxx6P/4huJRCKRSCTWj1wjvxzulY/lGvmJIQNlFXlvo6mq0FKMi8yFtZCpvtyw4GTZc9ddd4XFJaWY4sxCk1uWRKVQhZUR5RwRXJdqoZxbssEyDEVuwwqItZH7FGrWQu0OyrxOg+Ukrrrqqtjg1zqkpi0bmNABkD6dBPk8YeLECLf9CnSc9ij5JH/32GOPyJtdSsdHJ0oHSueGO3FNjG2UNqjvXJqguB4o1BPqGXVBf3LCMx11dcRAof7ZkDAIs/qnP3k9WsCyUt0sfcXVb/W1QVeEhvocKeKZA5HvDNZkHqwND+VJtYZMJBKJRA+0Wepoda9rdXKtl7WN6k56tOd0arqz5XHo09pH7aZ63dI5tZ53X7tm/XwENH/c4z/32tbWb3Lr3Q1tvwcT9ldhUEK/ZvzjNz1zzpw5oX/6jXCnb0sfbZNwI+m1ZeC5fQAY1Ei/ukScfo2zfoZn0oruak8B7ZLl37SJ7vPbd7WT3nfW15EH0lHa54B0IpFIJBIDQ66Rnxb5iWEGZRYo/ToGlGJKP8XXepqWR1AYEL86Ag5KNEXYkiyeIeUpx7VQVL8o3bXjAJRj5ZC7qpC3M6wlLx46SOIknioE8WCpw+rn3HPP7XXdGZDf8tjMipovm4oqAzpA8rYSgu7LZ2ko/Ryt93U4hYFM1He4VQGD+476eyBYWd4vL8U74qkT5xv8FXf3hWMgce8fbh3iycJd8l94PVcenJUZaUBWRiPIPGJBfHVwxVVeIxykpcbRLI7SokbauCetpYt3PbeJqncNGrmnblFvgLwyCCj9liCkix8s5zyXvjWN5adO98Ly3d123z0a5EXF/ealQ85P7p5+6qlYGop/5EcYLSMlvAat5GeVLW533W23ZlwJ6+Tilzw2gGmwzvc7BQZV1VcGZ2sdrs6WVupx8WLlaFBOeoib8ookUY+dcsopsVxOIpFIJAYfjD+uu+66aAO1o+pourR6GomsfULIn3jiidE22gzXNYJbu6Y9RXwzxqA7aftYm1six/r4dFLkt/pee2Dde36yRq+zag0KILoPP/zwPr1muCEsl19+ebQ39m6hS4gToxlhkybacu1z1TPoFKzmXdMtPJcG4iRd+MkiX7+lbhRMz/RcOklv/ktHbR/dQPz5wU95wR/f8E71rxP6KYlEIpFItANyaZ0k8hNtgFJQgvREvo1lzJ49OzoMFH+dAJ0rJFnd8Fan6pxzzul13RnQwdNZZGm0tHR0ZpS4IfVfKZ096+EjTnWUkH2sld7p7WAuKx2dUvMEUb68dH48W1ru7b7bbrH0Dj/efued6PjoAL1YOq0soqTTewsXxj1+kiuDQDqz0nRK6ah1FX8rse+ZTqZ0fq90OktvKzp8wsztqiKbrLZ02PgtDuRUfBaUzpdvdJV3ELbiKs884594+T6yeVpv5xDBqSPs255ZZmiqwatyf3Hxe2oJ1+blO9LFGuKWn6qjuTqC/BW2HYtMCKvBLd8ZbdAx/trXvhYEt7x/Y8GCIL+ln30VpF3NQ+mKkCc3b5T0kd460J6RBeTE3AceaLYonWl5vFnJH26km+94l0yYIo+AJxNLy7vSe0WRuUlFDhD5Qb6Xa+75efNNN8UAgDyU79sVuSGHE0t+vVrKqt+ebdW7PBjyH2lgJsoTTz4ZeY1QeK3c++AHPxgy3SlAQJgtZCYNS8Uq9+ovg49+ywOkkXyQb8qKslN0oihTCKBEIpFIDD7oCjfccEPUudos7aW2DeFukJU+A8hsdTPi3/KX1Urf5q7aWUscVt2KHsU/pL/63tKWxx13XAzgcse9No71O9JfO2Gwl56iHR8J6F9og7T3dIXhgnZuNOpmiUQikUi0A5LITyI/kWgb6Az98pe/jKV1dIaQfMgwZNn3vve95tOf/nSQwJ0EHUYdvjn33BMDFDaxRbjay4CltHhabkdHUUdPh6vUOUH0s3JGpJZaNKyXEaTS5IXSeUR6Iwv5pXNpeSbEv/QyQCCd5j/9dHSmdDzfLR1VfnjOPyQqghyBu+ceezT3P/BAfH+n8h63L5VOLNIWeYt0vL/4L5yISoMLOmg6vL4jvOJioEUe8sfgA8IYAew7vonU1LlmpbygxNtAxOJFi8KyjXX5xOIPv0vDEcQnCy/7OyBGfY91m2dB5PfKAaLbs9EGcZTm8ke85aH8IEsaNQQB+UC2Sx8DQAZ/titpSUYenTev2dKASElHciJvyAl/5c22220XZ+/v3GuxKJ9vufnm+BY/DL6QIflLzl5fsCBkGAEtv21KPW3q1AhXaTeDJCF7Nm32mx8Gj5RfFnfCYfDFoM2bxa08tC7ug3PnNqecemr40ylQjqRZUYZCVoUdiSOtlBEyT1a5k54grUF+cd9J8U0kEolOgzqankL3UB/XOngo4Tv0HMS/gfKRHqCmW4q38Dhrn+hMdE3teSKRSCQSic5DEvlJ5CcSbYUrr7wyLKM+9alPBSHMkvdHP/pREIdnn312r6vOgWVhWDRXIjNI7eXLmyXlPhLQgehDAupclUoz7ok3og85H9dTpsR98Ns79V2ds2pZjZxF+CPBWZnFkj78W9yzIaZOnHecS90W/vkOsthZGEqdHUSsfNDRQ7T7pvALH79923f54R4/bdq7sLgTjlgOp9zzDLhlESdM/HT2Ld/hHlzzt5757T3X3NY4uvY+/4TZ89EGBLB4sZw3CCIdqnyAs3sV3IPZEeVB3/vcGCRx329y9sjDDzd77b13pF/Nv3i3PK9p3+q3d+QvufDMAdx6v37b2W/3hZU777jmR3XrqPnqqLLf+s1EIpFIJBKbhrlz58ZybgYztLMPPvhgDK7T6T72sY+FHpBIJBKJRKKzkER+EvmJRNvBkhW33HJLH+F38sknN0cccUQSfcMM6Y9oTYw9jGTeF8VhnWV9fc8TiUQikUg0sfSbfWi0mdp12G677cIin4GMpRQR/IlEIpFIJDoHSeQnkZ9IJIYQLPFZQ7GAMsOARb615C1jUgcqdKK4s574LrvuGhZSrKVK3bOalbp3db78ZiFdKtg+K2ngn3fDr3ffDQt8Fuys1kt9Fm5YZlu+hl/cLFiwIDYiswyKJU/AuueeC4Ow1W/UJW5825m1+Fu9VvKxrn/vUi2+5X3v8MNvcfHMDANr6wub8LPyf+Lxx6MzaW38Glf3+Qfec1/cHnnkkQhPeTncW57Ft0YbzHpgOScdyIp0FG/5JH1cywNLE0n7V197LdJHXkgv75EHecwveUYuLK9kzXruLIFjpoa8kYZvvflm/NbJJ7OWQOIXf23gZ2p+XTfY7IsDDzooZMK7ZniAsAmrZX3qskBmUlg/WJ7fcccdkWdbbL55fJdb/mvRnfljiZ7YOLeEX75Hi1+uzfBQhiwVQHbEz7I2LA3Fx7vCZrkq8sQN/8VdGLnnj9kw0jSRSCQSibEASwxpB7WziUQikUgkOhtJ5CeRnxgGINAsJ4J0QiZZR9yGj5RqJCuUwhKk2dqAoCqyGX4guRBcpWyFXzbrGgi4b4c1O8cSHn/ssdjM1TrgCPTjjz8+ZhwgNa11P3PnnZu9Sv69/MorsS49+Tjt9NNjkzYEpc1lEZixJM2MGbF5aaxXbk1965sWubF0irxF8loGB3lqbXL5jKwtdVj4j9zk35SpU/uWy0HQGmSwFA5ZsrGwZXwQpiy5kKDcIV4RqNuX508++WSQvWTQGunkm9/cWVN/UQkj0rcS9nW9fLKLeOanGRbv9JLM25RwIu1vv+OOZrddd437ZFxaiCfimX/WZr/zzjvDT2SvjumZZ57ZV4ZGE8TNxrOI8iCoS/5aT17eItNtWrt1yW+DP9LGmvPqE+S+/Janb5b0t669fQ+kf2nDmj3K/ZdKnktLxL2lkPghvZ9/4YVm5k47NQcceGBzZ8kLsvly+db+5Te/DPBId+kt3w063V38VDdZzskeB2RxUslfMitvyQwS34Z/CATr/lcZEU4yYdDBGv5HHX103Jfvj5e4C8trr77aTC+yh4AXh6OOOiq+WSrL2Gdhx+LGElCHH3ZY+EEGlQWDPMqTMJJX+zuIw64lLJuV79mrIpFIJBKJRCKRSCQSiU5CEvlJ5CeGAf/pP/2n5qyzzmpuuukmhS4sRpFXiFcEGnLO1NcvfelLzezZs3sI0vIckYs4Q8hec801sbGn+8gqsKGW9S+RmchdhBpiDClqUIDlKwIYKYvALwUyniFSWbBW9yeeeOKoJEPbAU8/9VRYOc+YPj3I2X1mzYr8l/ZIdBuQyqfnn38+CFvk53777ts89vjjkScqMMR6qYeChA9L65KPLOndQ8gj0pGf2xZ5Qrbyw3PuPeNGniPEkZm+ddxxxwWJWweGyJSDzHHrXZvRCiP5I6MxEFDCSIaQ6eSKTAH5euLJJ5ujjzoqrLURrQhnAwPCww/EK9m2KauBrNI2xPHiCy8ESSusBgh8H4GNGK4brEqHIG1L2PktLIjo3Ys/yOvRBvlipgLZMLAxpcgCclo+SH9pKl1Y2JMv+UIelHsDJzawRWRLGxvQIvnJnU2ODbBIf37ID3UEWeAXsj3qpJL3ZMmmuvsWeXy5nEvbGIMHZIscyiub4XLnO+6RB3IkbL7nvroJtir+zn/mmZAbmyCTCbJsD4cXi/977723tjpmbTiTrB1KPrOg5w9ZsRSAciSswm9wzGCPutFglfiQFQMf6jgHGRYGMuXZrrvvHumQSCQSiUQikUgkEolEJyGJ/CTyE8OA//pf/2sQrZarOO2005o5c+bEbyQnAh+phqA677zzmr/+678O0g1JVWSxj+xkYcsaFXl/8803B8GHDAbkG9LUPcQVQhSh5RsIPu8bEPAcOew9hKCBBM8uuOCCZtasWeFXp6BULkFaJtYOZDAZQqpWINEXlrxH6g8E5Ic8khkE+9pAXrllHZ5IbCxay7X6Sz02mBgKPxOJRCKRSCQSiUQikRgOJJGfRH5iGGCZFKQqggrhyTIUMWqdZlarSHQWqKz1WdgjTLnjBooMhhW1ZVn4Y8kTltzIedatSHwElXtIV26QVd5xv1rKWjrFmSUtP32/lM+wuEXytxssy/Hd7363L66f+MQnmssvvzwGKyyjYVDEciPtDmneOujgd82jsLovz6ob8sAqvlQ5cY8cONyTl2TCe56tiVjv/y3wLWnWH/Ken63+kE0DQ75fUd9ndc+y2TOkPXdQ6syQp1KH9oXbwY2weqfGpX84hKH1W63gr/frc/4LnzQzIGEd9tEK+cyyXVxZoMt/sDQRC3v5Jl0ssWOppJofsQTT5pvHc2kH5IHle5UK+eBdecaNPOCmuvdtac+/6o/8c+2+PGx14115IwxmakBffpe6p/zoC6/73AunOk8dVAcXLatT49I62wPc40eVH8+Eq4ZPHGo4LStlxga3ftdvJxKJRCKRSCQSiUQi0clIIj+J/MQIoJJPrdelsLyPgIX1PV8f6vvOlphAoCHuOwEGHr7+9a83u+66a3PPPffEEjEGLfbaa6+I06mnnhrLArUzDEbEskYl/cE1otW63pYpQYSWzA2iFfn48EMPxbnUm/FcnllqBNFp+Rn+ITmXLl7cTCrvIijJhnXJrV//1FNP9a2VXuqyuJbnNi6NpVYm9Gygizy1NM2WW20VMziEQ5rG+uXF/XYlDJY/sab4QyVMWxd3CFKDQLvtvnssGeQdy/5YagVpaukcxK0lUoTp+eLe2Vr+iFjrnR908MGRh8IlHOJ14IEHhn8GFITLbAFhcoiXtNihdzaJgS7yIP1OOumkSNPRCHlm5o40QeQjvKW9GTwgLczoue+++5pdd9kllt+RjgZdpLPlaLyrxkCoI/89kzfPPvMMdj+euxfyUPLDuvFvv/VWDJJJb+n+SpE/edtV5GZlcUcGDcyQBfVRHWCQV9yH3Jb8E36wuTKZIo91v4YjjzoqNvIlPwYryID6STi4JytkUTl5t/hj5pCwVtk3m8iAgQG+53oHJ4XFxsvShJxbasdAgXtmiWxX6g5r/icSiUQikUgkEolEItGpGC1Efs6TT7Q1WKsiqiqQVBX1GhFVyaxWtD7fGNT3nW342CkkPggzMu+xxx5rDjvssCAJTzjhhFjD23UlNdsZiEpreCPYLYtUKsUI+9IiE0hS+WpjTwQqwhUZb/aBY/pmmwVhy/r8ueefDwKTO4ToawsWBAHqHit1soOUJWvuIziDPC/ftknuq6+8Em5toOqe2RpIUmS7wQWW3iGn5d0SqHBj3XLyKIzcAlIZkStcb5T4vNG7Fj//WVN7BohcAxHiKd7Wbe8aPz42Hq3xi01wp00LP1959dVY49x67+JjGSrv2dzXmu5kgZ8GAMKivPyWtqMV8lO6S2dnBDYyXLxXlDxBThvoQrJLDyR/bGQ8pcdC3mCQgRjpLw+llfeR9FHHFDl0T63CL4Mt5Mdzg0rIeHKGRLfevHcMArnvO6XRjrw2KCP/yFwQ/iV8ZgDFmv4lzPW+ewYXkPrCK15B1BeZ9F33hJ0MIum18AYfDGL5ju+JE3JeGYoZKiVc3jOQRF65MYjhW8LrqN9JJBKJRCKRSCQSiUQi0R7ARfRnOeN3WuQnRhpIpyuvvLJvfXoHQt3yOEgo5NOee+4ZpOUDDzzQ7Lfffn1kFqINScXKFEEWBO1zzwWpjVBzbzRD2tlsE5GHhJRWSHAkJyJYmrLUbWfIY/nmQFSKh3iJgwMxPX/+/LjPwhgJK9+Rn+LrPX7Ia+7dQ1CKt7QgT357Xq3c+VVly2+kKmLUPYQn2SFvvoeU9cz7wsdP19IXScvK24AAP6u81e8AP6chk1lRl7Aje7mtqO/We9yLv3CLayWs3RfnGi+kPULWc34gYxG+KnQbnAqLzXAnlrCMVkgH6Sa9pBGQB/laZag+r24c9drz1nddg3fqs/o+cFfzv/W9er//t+p73AuX51CftT6v1/VdcK7xqe+3fsd7wtn6fg1fvee5DZwNAJFncJ8fre/WbyYSiUQikUgkEolEItGpyKV1kshPDAN++ctfhtWq5ScsbWE5mJ/+9KdBPLGAZU2LsK9kVpHBPitSBBTi1FIiu+22W5CZ1tJnKcttItFOMAhFXhODi0pKtwtK4x51kwEY4ap5Xu8nEolEIpFIJBKJRCKRGFwkkZ9EfmIYYDkIy2CwMEbaW+ud9T2yHvGJnPfMMhOs75H+lruw8akzK2rWypaW4NY1PxBooxms8cWR9Tgrcpbr1noH91lqIw0NaFQC2VHKcAyKWH5DOkszMxwcBkz4d8oppwQJyQ/pyZ9SYcWAiRkTde3vTYXvPf74480BBxwQlsfCaamdLbbcMpaQkaeljgy3ngu7fLcm+jLxK/EkG2GNXsJoWRW1H7cgviyS+ceanSV7XXIm0sOMhfIe2Zo6ZUozafLk+B6LeGvks6T3m9xJCxuOsqoHS/t4t8qZQSdpIw5mSVjn3G+W/NzIB0viWMP+3SLDltKRD/wWfte+ZZkYfvgtD4RbHEsGRNzIP/nm71gFOXj8sceaHXfaKdLKEkh77LlnPKvyQh7ILhmT3ta4DzkpzyxJRL4sQ0WW5Q8ZsBSSPHWPbMgDy+r4nv0YzK7gp2WSvG9ZK3nsmbrLoS6zpv42JY9826bDvicfQb4tKeFYXPKWfAu/PDcYYUknsid/hT82UC55b5aFeCmj3AurMBmwVC7JHvm1JwM5I6fLS9jrMlvcWIaH7OZSOolEIpFIJBKJRCKRGI1IIj+J/ESibYHMu+yyy4LkRbAj7ZCMiDwktfXWrfmPPDa7wXIwgAhEHlumqNQ/feuyl7IcpCTy8pBDDmluuumm8MdACxKyEqPW4eduMPDIww83E4rfyHkDCMjxhYsWBbGJnNxi883ju9bBR3oK98PlHXG1rv7BBx8c1w/OnRvLyAQBX+KCiLWp5zHHHhvr01uP3prhjzzySJCd3kGII0kRqnUwAHHuO7vvvnsQtd6VXsKyy667Brk/rYSRW8vuIGult+PR4rdlnQxMnHnWWc0dd9wRpCk/Dj/iiCBenyppvc+sWZFf1ivfqaSjwRcb5kp/gxje4Z/lUITL920GjJhFFFvS58wzzwxSd6yiNJ6RV3fffXeQ6/KnztyxGTAZJk/SjztuDjn00JAT+Sf9DQLKQ2XEZrj2ZLC5sbS2Cax3EOpk59FHH408R/hbIsk73M594IFY+gt5f9zxx8cg0a233hqDAPJ89i23NAfYZLfct8eBBpdcbVPC6Js2PxbOo48+OsJuVhLy/sADDoiBHnktrt6xBJQBr5dKOA1MKDfKrzB5roz6vrIufsJOXg0cWMdfXMmwsq1MJRKJRCKRSCQSiUQiMZqQRH4S+YkRAKtpBBarZiQmogzq2uhIKEQdYg3hW+F5WC6vB97lb5Hd8IultfcQYhVI3na3XGXBG8T05MlhEYycFg+kpnQRN8S3TW9ZgSMMkZqlzgmLdvE1GCCtPTezAUGPID/00EODWEQWI/KlF3gXmdia7puCl196KchwRCnCUZ7Kd3li41I1mdkGb5f8mFHCIq7cIDtLXRTLKYknf2z6ykp/t913j3QwY8FgBStr30B2sniWr/xD7CP8fRc5S+5Y4O+xxx4RNukjzRD9NkZl8SzNhQnR7hoZ7D3XyNIIX5FDS0QJo/Tlj3AiV8keK2rXiFlkrMGEW2+7rdl+u+0inMANUlfcpD9SFlEr7PJph+23DyK5VWbHGqT5Y/PmBdEOrNxZyht8ivwoaS395a90ZBkvj+Qp2UKUe2eHHXeMPER0G+RB5Nu8WF1jnwnyZs+OuC5uvCM/5Y9vlIY8vuk5mZS38kqe2Tx55112iXxyv1r5+7Zvlra2eafIya7FP+WNTBq0kv8s6H2PzCqv75W4BElfyis5E0cyXetJ31Q+fZfsibP4G5hy37U6rxP2zkgkEolEIpFIJBKJRGJDkUR+EvmJYQLiyTIvJ598cliQsxJH4CKljz322FjCAqHF4hlhj8BCXiOtwuJ22rQgOBGziDLklvsIL6SqTXC9V+Q1iDwkHXJtr732it++h8T2vXPOOSeWRTnuuON6Q5foBFhORM0n79cHAwVkox2AhEXYIm77h720Dz3LohS5TXQ21EvI9ToI5NqxLsh78tEusppIJBKJRCKRSCQSiUS7YrQQ+WPXZDPRMSjlIIj2UijCgrYu+8Ia1hnRzwqcdfK8efPCnQMJz7oUgY/s8hvJj5S3xArL+lKogvBH0nvfPUSa93zLteeINpawiDMkf7sDGW2wQjqIA4g71PSRdp7V31B/g+f9z55V/5xb33fU70pHaVrdSDfP6rvSXXiq32uCd8wIqG7kQX0ffM89+erM/wrvkI8KS6YY0PHditaw1PBDJUY9b322vIRH3BwV9R1gMe2b9V49kyvhA2Hkp3ONV6sfwG31Z+KECc20Iodk0f3qVtiQvqUBeN/7fgtj/WZFf3eJ9oF8lJ+gflkfiQ/cJImfSCQSiUQikUgkEonE2AG2oD9jEL/TIj/RjkBGIrAqqYn8qoRoK8nbSoY5c1vf9az+rqQ8/zzjh6UwkK2VWGsF95VEbWdY7sPSOpbOAIMQs2fPjjWwLeNRZycgtw2SiDNS0KCIZ5bd4UdN67rWN6twy4Yg2bnhvg54WJ4DrEeOSObOci8GRSzZ4bvSnHvr3vumZ/yu4WzFc+V7ljHxDbMk+G/pnkqMC6fw3ztnTrNt+Sa/K7G5bYmvZYAM8KwoYRtXnlknn1/eITMhF+WZzULNzLAOug0/LWtimRO0tyVNLC1EHty3RJG1xYV7s+nT436VB5vpWpbHwI+wWnqI+2fmz49vC4uZIe7ZZNdzy7k4WxrFsj8GmFaWuL1evmtGyLMlDyzRY7kVaS7NhN0MA36KA/c24pXWBkcsA8O9MJFXgwbSRjjlnzXcE4lEIpFIJBKJRCKRSCTGCtIiP5EYASAuoQh+kKmISmcHErcefnPjQGhW987eqfdcOyqp7F3f8Jub/odnzu0OcUN215kMNllFLrNwRwhXUpcbG8QigC1bJN6eI+ERwJYdQpw7vI8cZwGPcOYGMY7gZ4HPj5qeBg4Q5twBEpuVufDwC6mPzBeGVsv5VnDLL2lu7XFEtWuEOuI7SPXiv01BrSXOvbAh58VPTWdWwNLyrngi5YWpzsTgtzXH3ZNebxa/bD5bv+sd4Sv1cCzdJB2thc+9zWZfKPe4sQktWALHu8h6aRVhL/elqXBa7gnpzo20lc7STFjfK2dh8N5rJV18a/78+fEd/tjA1OCIAQDXnjsMKlhL331569vjinvnmn/2BvANcZZ+iUQikUgkEolEIpFIJBKJzgNWpz+zE7/TIj/RjkB0IoIR7shJJKcDGVzJVxbffiNGHchSxDICF5nLqhspPJohHZDHCHTp4lqcgzR+7724dh8ZXK3UEc6IXm6C2H7zzSCDbYi7//77x3uszaWtQQ9ufcc1fypJznqeX4hjpHX9FrfyDyFt34Gjjz66zx/f6w/vCgv/vMMN975vMEU+I8NdC6dvVneuhde73PhGja9wuO8aEPXeqfHym9/ONX7C4h3u3Af++S6/yaP3wXNu6zd93yFM/BNe33ZY+3588X9J8X96ySth9ryGp8alOI6ZA75Xw17TlBvp5Jmw+i3ta9iFJwYfyjf45V4ikUgkEolEIpFIJBKJxFhBbnabRH5iBGANfJvbIiORk6WghLU0IhVJ6TfivshpkMbcOVgr13dOOeWUWJYlMTKQR4DoTiSGCuRsJGXM4IrBFiht+Xpn8qwtvKVdzcGXRCKRSCQSiUQikUgkNgFJ5CeRnxgBWP7Fki677LJLkFusxi3RwhL8wAMPjGtrilt2pVpuFznsswQv8hpruLNqHs1ggW85HfG0xrvf0sZAhuVmdt9991g2xuwG6WEQxAAI63mW3X5LZ2nHOh0hKe2cb7jhhuaoo46KtPeMpbf78kSae7/UBX3W32ZBWAN/Q2dBLCn+WEaGH/yXl/KxVI6Rv75b6p54vvXWW4cMAAJ1sxLPpeVZqUPjXe+IC6KUPyzfWcNblgb46xl/PSMrZnF43zPxkk6lbgu/3PNcPA0iSQdpvKo8m1bSXLiKh01XOaTz8889F0sASRP+88u7NZ2kpaV69thzz3DvvvDIL/kW1vQlrJ75hjh6ZgNe6+NbF5//8lA4lAHx5TfIu7ECeXXnHXc0e+29d+RL3WNBfpkJAmaWSF9pa68H+SxfyZKzmSzymEzNKGknvcnNlOKPe+Rgy5LGlmZybWCQ3NcZIb7H7+JZ3LNE0s477xzfsbySVljecEtW+C2PbW4sPy0lZYNmYbckE7k0OGnfCv54h1wLp/fEmTwIi3f5Ic/JAhnZusRdvJRFDfuMUhb99kzYpA0/vSOM/HFWRrybSCQSiUQikUgkEolEJyOJ/CTyEyOAUiaC9GoFsgoBh+RM9MAa9FdccUUQ9qWyigEQMxeQl2Yk2AgXmWmGw0svvdSzoWpXzzJFSGXkfyX5DQjst99+zbHHHhtk4eWXX94cfvjhsQ77/fffH274ddBBBzW33HJLkIXIUQRmJccPPvjg2PB2Q2DmRWyQ27tsDHJSPu+xxx7N2yXPrSG/3fbbBxm5bwmf9eDdt0TN9CILTz39dLMNgv/dd4NYtY68TW1taGuQwjr7iHykJdlBkAqzpYTEB3lL3jxfaMmb8h6iU5xsNotQL3Vec8wxx0S63HnnnVF5cr+8HAYuhGOLEv/5xU+EKdlFAO+9zz5NqReb8SW9Dzn00CBrxRGZv+NOO/UQrIsWNYcfcUSz4PXXI27blDBxI4+Ep9SvER73gHvPkMs7z5wZa+0jkrcveUEGxgoQ7Q899FAMHt19993NFiUfkOJbb7VV7PGAdJfPm5d8IAcGYpDY5BhRvttuu8XAEDmwv4AWkxtlgvwZlJHWSHT5LC+OO/745v777osNiOUHeeeXsGxV8r/KYGxEXPIIiW9jZIMz/CAzyqB37cOAmJe39m3YocRDWfN8YfkuubSxMtknY8j+N0qZIw8GAmx0PGvffZuXXnwxBu22LPEVRmE30EMGxV95VCamle+4L1xHFHkTb89jZlNxQz4TiUQikUgkEolEIpHoZCSRn0R+YgRQCSdnZGt/IKgRspXgcq6EMpIMYYd0raQ/f5BqniHOEKYIQMTd2uAdpJxwtCvEuZLsCMg5c+ZEnFjeiuM+++wTcbj55puDaEdKIgpZIbMYd13JSiTznnvuGfHlH/JfeklbRCg30hT5iVxHSvqmAQFp5fesWbPiOxsCAwk13xCbpT6JeMlfBKn89W2W6CzfEanC5Fsvv/JK89yzzza7lHBYVmmvvfaK+MycOTP8Q2bWsIGzfHfPt6QNi2qkr3vi59vcODtK/RzkKPkRNwMYSNg3Srz5zxrce6VejHQSF3mAvEXuP/vMM0EmG/TwLemLsGUBvlk5vCO88sS1MCKHEcPuI3SR+/MefTTixmLb9wwYSBv35IM4rKmsjFYo49JcPtfBKAS63yzqyYo0Ugdwu0o+ljwkS9w7e4YEVyeEVX65R7bkOX+k/YsvvNDMLLIorQ2YGSQgB/JZ+akDjOD7Bn7IhOdkmb9kjUz4lnCWhj/e5b/ZKGSbHwbhzHjx7Tr7gl+ekUV+irNrMkB+kfRIfXIljLVMe8YPAwFkW5wMTLG8Jyt1wO/RUpcecOCBIWuJRCKRSCQSiUQikUh0MpLITyI/MUxAiCGiTz/99CDLkGsIaMQUIgyRigwr8hbWpCeccEKQWg8++GCQupWcRoR6F3mFPEWelYLWnHrqqc1Pf/rTsMRlBW6JHu4RYghU/vuWe4g0ZJ3vIeJ8k5U3Iq8TgfhDCA4lkJKIQcdQwTcWIylLniEuodSfQajLd/k0VCBrlbAdSiCdyZ+4IGMr5KFZC+JegbAVd3KaGBrID3XDYGB9ZWQwvzUQqBfrAFYtT4lEIpFIJBKJRCKRSHQqRguRnz30RNujFIa+A4n+wAMPBCHP2hhJy0qaJTNrWqSqe5W0f/bZZ8MyvBSUIFsRoMgyBD0iHkEPLHAtNcH6lDuEqWvW3yxlWbSyuK7W0aVshhtWsp2MoSbxARG4sSS+dAa1FrIToekc94o81Of8Z8XuXJ+bSYDkJhMO+S3vXi+y4t3BwnCQ+IDIjRkILSQ+yMNWEh8QsGOVxJf/ZjsYzJDPyq4BPwOC5IfMkAfnTZGDwSTW11dGhpPEB2FRfwpXIpFIJBKJRCKRSCQSifYA5qA/exC/0yI/0a5AxiHmK2mLbLKkDuy///599x2VHHPNQrkSZpUABveqP4g918B9JfqqX35btx3J7zc3UL+TGDy88vLLsUyNpVDktzXFSwZEXiCv31u4MJahsSmuTTlXlDw1AwOJaz19My7MrrAECpIfkQus1w886KD3EeKJ0QEDNvfde29cG+CwPrwBEAN61so3uGMZKMsZkY9cOiaRSCQSiUQikUgkEonRjbTITyRGAEhcRD7SvRLpzgg5RyVr3S+Fo+9g0VrdloIUy+T4Xe/VM3/rO/V3vVf9tIwOK+zqxpEYfCDoLe9hVsXKku+ubTi7tOQ/0l66I/QR/p4j8+WVmRks71lhy6flxa3fnpEDG9x6lhidkOczNt88SHz5zLKcfCDxp0yeHJsNm9ljIKc0tDF7J5FIJBKJRCKRSCQSiUSi3YGB7M9Cxu+0yE+0C1auXBnLZLCqZQ2P2EXOIez22GOPWELFc5tR3nnnnc2ZZ54ZpC2LW2ve29gVCc/y1m/k78MPP9wcdthhsZyOzVAtRWIJDsv02LDVUjvc89t3DCBYV98a/Yg/hDB/PUsMDSxdxHoagW95IwM40ttAjPysaS8/yIiNZhG38tEmsN4nM+4hbOW7awMw5CPzbnRDmZXPzq2DbfWaTOQgXCKRSCQSiUQikUgkEqMfaZGfSAwTWFh/+9vfDuINObvVVls19957b5D2L730UvPEE08EGe+3dcGR/dbRnzt3bqxrP2/evOahhx4Ka31L8Dz//PPNM888E1ba7vH/2muvbZ577rkYJEAMe8eGuvfff39cew+R/OSTT8bv22+/Paz6E0MHeWkPAwMqSHeDKwZQnJHyyHwHdwZixnV1hdX1TsU9d0h8YHldN+30LvcjSeLXgYXE0EJ+1zPCvh4VSeInEolEIpFIJBKJRCKR6CRgMvqzGfE7LfIT7YKVK1eGVTaLe9bWSHjW8Szu995771gTG1nnjFx3z6a0SF6kKavuIouxOa53WO9bL3vfffcNgvfpp58OYpW1Pit95DEynx8IYedtttkmluNA4iOG+bHffvuFv4mhgUEY+Sdf99xzz2ZJuQZ5bYmdRx5+uNln1qz4bbNj5L78t/45sh7kHflxb8Xy5UH2I/jJUUWswd9L7JODUo+F7Bg0smyPDY+7ym/+G8xh4c0NOfGbfAFZ8g3L/gSKXxOL/PCzhs23nnn22ZCdRx95pJlewiKMBx98cJz5hWA2WEXGzAgh6+RMeKTH9M02i3iooLcoMikM3AqzuConzz/3XOwTYJbCu+W7ZpoI8/LiVtrVTZ4TiUQikUgkEolEIpFIJEY7RotFfhL5iUQBcpaFPsI+LXXbA5Y/QjzbtHYyEr13qR17IVgD3aAKcrzUM0HcI7pZ2r/+2muxFM+uu+0WxLYZGOO7uoIUP/6EE5pJxc1tt9/ebDZtWvjzxoIFzS677tq89uqrMXDzevl96KGHBim/oMiEs81yLeN0/3339ZHlO+60UxDoNtclN8j6Z597Lq4NACDgzRQxQ8C12SOLFi4M+TrhxBNjlghi31ruBgtuufnmZuvybqlHmy2K/2aKGGAw6ISIN7g0scS1Dk7ssOOOzRFHHBGzRbhZVe4ZTLCskNklBiusCS/sNoE2i0Tc9y3Xe+y+e28qJxKJRCKRSCQSiUQikUiMbowWIn98OdZI5B900EFxXrhw4bhFixaNK2EZVwI4bsaMGXF2uFc+FucSkL77jhKhEtceXHjhhb/Hr0RisMCyHmkJCHhW8qXQxG9EqWuEZ7XMhv7PEZ1FPMOS2T3+JYnfXkBWs6ZHbCPnt9xqq2aX3XbrW2pHvtfZEiztty9utiruLcez0047Rf57F1nOn7DsX7q02by4tT8CghzZvV05V0v+mTvvHMT6lOL3DHsxTJrU7Fa+yYqdZf42xR3iH3GPqCdVhx52WLPcWv3lEC7hQ6gj8IWlWu1vV+65v205hJ11fAwolPB4R3gMJrhXKvCIg+/usssu4Zdr8TGIQF75QWINLJiVsG1JC+nBL+nFnd/8L3V0xGOH8g0yn0gkEolEIpFIJBKJRCIxFvDVr371xnLqHjdu3KrWczmc+47e+2v9XY+urq5V3QXl7BT+1N+rVq1a7bxy5cru8ePHdyPxy+/giCZOnNht9RH3cDR4HHwQ4JWAgWt/4ID6M5fxOy3yE+0I1tnWv2dlfeSRR4Y1MlLU9RVXXBGkKWK/yGIcniEvFQJuEZoIfmdLt9gY13UisTFgka+iRZJDqaRjcKhU0quR5azpq5vBgm8ZeHKABsBAxGB/J5FIJBKJRCKRSCQSiUSik5Gb3SYSIwTrhLNGtqyKA3mJNGW1jLS32S3LZZbIllsBpGcpOOHe+whYFs+lAMXzRHsCAS7vSoUYv5HV8pD1uWvLz/jtXOrL5qUXX+zLcyOc1tWX35bl4Qe/HIMFctgqQ0h8aCXxYSjkzLcqiQ8Gq1KeE4lEIpFIJBKJRCKRSCRGJ7BAv2KCehC/0yI/0Y5AxjqQmJWQrVbJ7jsjdCvJWe85I3aRvyyouYmlUnqJ10T7ATlv+SP5LJ9mzZrVPProo0GSL3j99SCtrSFvmSVL1ljv3iwLbg3SWPve+vB1iSUy4L7fBn3M3kgkEolEIpFIJBKJRCKRSIxupEV+IjECQMojasHZ4R7UM6K3/z1n64lbasd64ltttVWfP4n2xFtvvhnnF55/PqzsSwUY+VYqxyDmrWEvX7cu9wzOGJiZVu69+8478S531QJfXtu01ppjNtC1lj1r/0QikUgkEolEIpFIJBKJRKITgOXsYTp/hfidFvmJRGIkgWgvdUvTvWpVbDhbB2jct7HspIkT+2ZfVHKfewdinzvveObgDpHfu6lIPMvBnEQikUgkEolEIpFIJBKJ0Y20yE8kEokhRKncYg16y+Mg5ivx7nqzch8ZXyq8+I3EB9eWz3H2bljuFzdmY7j2vvvedZ1IJBKJRCKRSCQSiUQikRj9GDdu3GqkeCcimaxEIpFIJBKJRCKRSCQSiUQikUiMSmwqid8ugwBJ5CcSiUQikUgkEolEIpFIJBKJRGLUYyNI+bax5E8iP5FIJBKJRCKRSCQSiUQikUgkEqMa/Uj8vuve+6s9c28wLfHfeOONZsGCBb2/Ng5J5CcSiUQikUgkEolEIpFIJBKJRGJMYNWqVXEU9CfrV/u9cuXKOAYL48eP77bhbe/PDUYS+YlEIpFIJBKJRCKRSCQSiUQikRgrGDRL++FEEvmJRCKRSCQSiUQikUgkEolEIpEYzajk/aCR+MuXL+929P4cciSRn0gkEolEIpFIJBKJRCKRSCQSidGK95H4LevixzGQ9fAHc838jcGQEfldXV3dS5cu7V62bNmIRjCRSCQSiUQikUgkEolEIpFIJBJjF0j43rXx10rar4uor8/W5MY9Bz6899aQIC3yE4lEIpFIJBKJRCKRSCQSiUQiMVpRCfZWon2NpHsl5ctlHC3XAwIyv/edQUcS+YlEIpFIJBKJRCKRSCQSiUQikRjNeB+53p9wX7lyZRwDwVCR9etCEvmJRCKRSCQSiUQikUgkEolEIpEYlWgl3ddgYd9ndd96rscafofVvfO6wM348ePX625DMCAif+rUqd2TJk0a1A8nEolEIpFIJBKJRCKRSCQSiUQiMZSwLn6/tfHjut6vv3sevR8rVqxoli9fHtet7lyv672KCRMmrEbqT5w4caNI/kGzyPdxh9GGoV7YP5FIJBKJRCKRSCQSiUQikUgkEomBoJdwrwcECd+PjK/XcbQ+b3GzQRhMq/whW1qnLuy/sZFMJBKJRCKRSCQSiUQikUgkEolEYlPQwk8HVw29lvgB6+L3/72WtfLDzbJly1jp97mvHPhQ8+CbTORXK/x33nmneffdd3vvJhKJRCKRSCQSiUQikUgkEolEIjHiQLBXkv1915WA7z23kvJrJOj7/27Fpq6Nf8kll8SxJmwQkW/9nsmTJ290QBKJRCKRSCQSiUQikUgkEolEIpEYLlQyvtcSv+93edRK0q+RtK+o91vPre4HstS8tfLx670/1wVu3uduUNfIF+B69N5OJBKJRCKRSCQSiUQikUgkEolEYqRQifFWgryS8HG0XMNq9ypZ3/9csSYufCg48o0i8uvIwfqmCSSpn0gkEolEIpFIJBKJRCKRSCQSiZGC9e8dCPhWcr71vnu9a+P3uWtdK9/vFStWNMuXLw+u2+/+3PfSpUs3iAefNGlS99SpUwf8zkZb5Fcy35QAR9xMJBKJRCKRSCQSiUQikUgkEolEok0wbty4VY5yGefea3z2asR+PVrv939Wj3J/jVi8eHG3o/fnJq+Z34pBW1qnP2qE0iI/kUgkEolEIpFIJBKJRCKRSCQSI4Qg38F1f0v8nqXz4zeSP561WuavWLEijl73wXu3HsuWLetmjb8uHnwwyPxBI/LrVIK6Vn69Fw8TiUQikUgkEolEIpFIJBKJRCKRGGaMa7HGR9o7996r5LxzkPit91uPcq+PwHe9NlSOfNGiRd0LFy4cVG58yCzyB2vKQCKRSCQSiUQikUgkEolEIpFIJBIbAyb34LL1KKiW+PGbFX61xK9uWkn8ekbUO7PEd7iuz4cSG0zkz58/v3n++ed7fzXNggULmjfffLP3VyKRSCQSiUQikUgkEolEIpFIJBJtgz4rfEdXV1erRX61xF/vwX34NkIYEJE/ffr02EHXTro2ua3W9uvb5LaOTvT+TCQSiUQikUgkEolEIpFIJBKJRGLYwPK+nML63k9W972W+EHmV0t81/XAabtX18Z31Ovly5fHUZfRcZR31rvMPF7dMXny5Dj33h4w1krkX3LJJXGsDfVjrWviQ2vgYX0RSCQSiUQikUgkEolEIpFIJBKJRGIogLBH5reeHV1dXX3W+eXoI+wd5bU1XrcS+73PApUDd64H3vzdd9/tfvvttweDH+9el0V+fGD77bcf8Ida18VfvHhxXJdz/E4kEolEIpFIJBKJRCKRSPz/7d3dblvH1YdxU/JX4gJJkwKBkRz0TnwVukpfRe6kB3WCNk2LILFVW5TU9SzN2pk93JukPySnyfMD9rtmzQxlkj37Z96hJOkuXV9fX25uQvyqGd6XCvNBOE/lNH6bz5P5nMBnvPQQ2vPvMM5/cMG+m224DYfacvjVfYeu1ll94ajeDL/Gy6/y8gEI8+uDSJIkSZIkSZJ0lzbzEH8W5o9PhfmE+PHSCupzrp4+76an1hy1brCppz/8zm/P8hu0o2MO02/a05v1Z2dnm3/+85+bX375ZXN+fr558+bN5uLiYvP06dOsMXdyeXm5+dOf/nSy3W6Zo548fvw466NHj07iNacPHz6kP71//35WxOtO48PMxjyxfp8aX8RpfHfU7Ns4n/iyT7r103ir9CdtPitzra/PuaEPWePJz0pPrT5ULeO6JEmSJEmSJOkdbVoI3qk+a61f3dxtX32G6VTmYzz9aO31ryftx/7y5OTkkgE15qvPSj+Oiaup0RNkX6Lm7t+/f7ndbq+oFxcXVw8ePMj68OHDy9evX9NfnZ+fZ3358iXz7L3+9NNPr77//vu8H5/fouUz8bu0nMivIP/58+dZQ9WSwfRiaF0OBfk88QZPPvvss6zxYTLMryA/3hjB/AlBfswvBvk338MpY0L3+/E3ZiE+Y/bVfHyBsxCfHm1+DPEZT8E9/0Trp9rmkLWt9dbmJUmSJEmSJElvabMS5HfzWa8OBPmtr+C+H8eWPGFPP53IP1kJ86tnTCW+rnUqwT0qyK8Av2of5P/3v//NAJ/78T9KkE9fYf7XX3/NHOH8FOTH52CNuSnIrwCfSh9vdAryqfFFZJBPwE+ljy+Vb6XGGdjXOL7InRC/Klrfh/kZ1Ld+Cu6p9O2ZncaP9TY0wJckSZIkSZKk27bZH+CDeg1qmyecz0C/zcXLbgJ+UGN5vFZnCu+j70N8zAJ81lBzFebHGvfo019tt1vWr968eUNgvxjkf/LJJ8xf90F+hfjxvqerde40yI83nify441koF9X6xDg8xmpBPugp8ZrphP31JifgvuaZxxf3BTit/mdEL/t6U/k52dk3Op4Kh9Zq2/rqGqYL0mSJEmSJEm3ZLM/yK/gvk7iz+bCFORXzxjU6BfD/FjuQ/1ZyF/r9RBnb9uVOlUJ7x+2k/iE+AT41NibAf4vv/xy9ejRowzx9wX53377bdawVjOoHgPqWU+QTx2v1yHIjze4efXqFSfsN59//nmG+IT6Y5Af89PpfCrhfXz4WYhPeB8fcjqVX3PU+BIrvOfqnpzj9V3N0B70jKuPtx4vj/9FW5DPE+OsiFpqnLXt6fUn9SVJkiRJkiRJH8jVFRn8TXBNnEsNUwW1rU3jeN0U4BMPX15eZh/b3yrMZ9/p/DqdPHVfcwT34N/Ytqt1CPIJ7scgP9ao1xXkc61O1OsXL17k5+mDfE7jP3/+nOn6rKjxNJeB9s1wR86vBfkXFxd5Av+rr76afvCWh5P5sZ5X6xDkE9zzVKDfwvzprnxqvG4K5wn344usfgrxqfHlzk7gM0+lb2uzED9qfj7mqTw1R40tOY4ntbWS434u9lP6PZIkSZIkSZKk90MgvxPg932sTyH+ME9QX/O0WXmuuzD/pIXzbX4pzGc5+1qnv98C/NPT0wr2ry66u/HpK9AnyCfEj79xTYBPkP9Ju1bnQJBfn6dMn6/Vm3D7Zrgj55eCfPoK8//yl78Q2Odp/Pgcm/jHCehn1+tEPwvyYy4D/PgiMriP18Vnm52yzyCfhnF8abMwH9SxjydP3sf8Tpjf15jOcTeP2Yn7fr7VMvaSJEmSJEmSpHc3C643mzxpP+upgZpBfqxPY2qYrtdp64TNlFmIXzX2T2H9TUR9mSfyuzrNV5jP36MS2ld4z8OJfAL88/Pz6Vod6lKQP4b48Z77u/FL9dN8htk3wx2zIPvZs2eLQf7Tp0+n63XiM+SJfK7X4fsgxO9/9JbPGm86g3wqPYF+rO+c0I8vcTqBH39rNcSvudiTp+5r3Obz88V4Vpkf5lBBfvVl1nf7JUmSJEmSJEnvaPNrQF+mAPvqJshHhfX9OIP8GlNbv3PFToxnIT5raH1/En+q8dpZuL9duBs/6nSlDg9BPify4/XXL1++zCCfhyD/H//4R44J9A8E+VXL1GeYfTPc0c9vCPIZjNfrEORTeeKD5In8+IB5vQ61TuXXiXweQn1qvPk8hR8fdDHMjw/Nt1fX7NDOQnwwz5gn/hzffs7znhlTo90J86mxf+fkfdeXWb+wLkmSJEmSJEl6S5uVIH9p/urX4D77Np7m45lO4jNPdMwcxsoaIT01ZHjP2nV3Sr/WiLBj7xTwE9qPQT4hPqfxqdHnSfx43TVjwvt//etfeSqfEJ83/5sI8uOz5PPkyRM+6eaYu/L5HuKDZA0V2k8n8qno+7ZnCvHbmIB+CvR538zRt7X8vFXjJXyk/FxtDmM/WpuXJEmSJEmSJB1vFlxvFgJ8/g/zV+0qneoZ9/MxziD/8vIyQ/yaA32N+7nYO9XT09MM8Su4p4YM8Lftx20v2p34VSvQH+/G/+mnn/IEPkE+P3T7/fffT6fxef+3GeTnXfl1Tz59hflff/01V+nshPmczOdUPkF+fGDWpiCfPj7EKX0F+DyMYy4+42meyKded+E9qvJdM+772F+BfZ3Er3B/+pyMa1/11NCvG+RLkiRJkiRJ0u2aBdebmyC+dTd9G2alb3O5r/VTgF9rzIVaq7C+5mchPnPX7ST+6elphvb3u2t0qMwT3hPmv379moA+A3xO5BPgcxo/9szuxo/1DO95OJHP+yfIrxCf/m2D/LI3uF4L8gnv40Nvvvrqq1mQX3flE+DHd5Mn82MtT+ITkhPaxxoXDc1O5McHrFA+a5iF+P1aP+Z9xpYM8fn7rZ/Gre4E+WGazy76WF8N8tfmJUmSJEmSJEmHbW4C9x3MX3ZBfsh93f4M63m22+2+ID+fq9DWM8g/OTmZhfhVWT9tIT415vNEPj3r1AcPHuTd+NFf15U6PDG/eDc+Qf4PP/yQ4T5hPm/+zoJ8aoX5BPn0FeYfc1c+NdZmP3xL5akAvx/HB6aPcnMyH1TC9FpvdQrwedgXby3HPG2d91sVGfy3MXJc692+0dq8JEmSJEmSJOmwMbBOhO9tmLp+OoHPuJ+/+vVqnVmQH/OzAL+tMz3Oz0J86v12Ep/1mue56K7UiTVO2++9G3/pR25507+pID++iNld+TGftU7m93flMx97Z+F+H+ZTq+dp4fzUx9oU2sdTwX6F9hXY93OY5m/aG/16q4u6fZIkSZIkSZKkFYTobXjIbF/3ulmQzwRjnpifBfg1Zr4F9Yyztv4K9NsW1vOcdmH+mzdvCOCzZ60C/PvdlToxf73vbvwK8h8/fnxFiM97HoP8b7/9NmsYa5n6PoxeC6Zzvg/yqWOYv++ufMZ9kE+tIJ+nD/MrsO/H8eGzxofPPfFP1on8DO4ZE6zH/gzqq2edvYx5eK/08cXmPE03n/p9re6Iv2uQL0mSJEmSJElHaGF66/aaBdm8rq9h6tvfm4X3bT4rATxz9DWmtvX+Wp0ptK/KHJV1gntO4FN5zs/P84782HvNaXzqw5W78fsfuV06jf/8+XOG9dnQjzH1S2H0OJf9UpBPJcyvU/nx4RfvyqfGHsL52RU7PPXjt4T59ATksU64nzU+aIb6hPPxJfQh/RToV0/tH/b3Pe+X18Teqe/my6xfWM8gX5IkSZIkSZJ0nMs9QT7BeRuOcr7Wu307QX492+227yu4n3rWCeh5anx6epr9xcVF9jGfc69fv86Qn+Ce1xPox3qexKc+aKfxx7vx+yD/yZMnV0dcqVNW+52QOiwG2/uCfGqF+eMVO59//nlWfviWwD6+uMX78ivMb3umIJ+HMJ95QnWC+wr0Yz73xD+ffXxRFdDPgnrmmau+nuqpiL97MNiXJEmSJEmSJH1QY4CdCM+37Udtqx9rrGdIX30bTyfxq2df9YTzFdoTxFNjfTqJzzoPQf4Y4hPev3z5ktfkmOCek/ixfxbiP3r06PrFixfH3o1fVvulkHotyM767NmzrPuCfPoK8wnw40vLk/nxJRC4T2F+rGdAH/Mn0WeND5jhPPMV1lOZI2SvnnEF+oyrj396Cup5eC8V5Fffr1VF/O2dIH/sJUmSJEmSJEkfTgvbdzB/cXExjcfKs91uZ3098bpZz3PZ7srnIah/0+7Crz5ek2F9hfZjiF8n8XkI7jmJX2OeCvIP/cjtEXfjl2l+KaTeN7c5Ozvbeyq/7sqnJ8iPtSnIp8YXm2F+3ZVfYX4F+YzjA2Y4T0+NL2AK6wn0Oa3PPvqo44/dVtjPe8j3UfM1jv19QF81dfNp7CVJkiRJkiRJHw5heRvOLMxnz/y2ndSvPa1OJ/T7h7CdYD9qBu/M9SE+gX1/+v7QSXxCeuq+K3Woa6fxj7gbv0zz+0LqcS37Y+7Kpx+v2CHEr0CfvgL8J0+eVMCf/ePHjzOsZ0ytE/oE6szVlTv0PIT2Na4nvrR8D/1c9VRe0/dVy9iPDq1LkiRJkiRJkuYIxttw1dqemq9KMF99PdVvV8J8wvsaxzO7XodQnwC/rWWQf35+nuPxJH5b37lSpz+Jz3upIH/PlTpVRzvz+wLpcS37CvKxL8z/61//eo+T+Yx54svLwH788VuC/BbaZ5jPyXzGhOX0BPmMK9jvT+PXPHM1rnneD4E9c4z7+apgHK9v3b17tX+PQ+uSJEmSJEmSpF1rwfUMQXkbTt68ebMT5ve1XkM4T19zNR7nK9QnsKdWiE+gTxhfIf6DhZP4BPeMCfIrxOepk/i8jzHEx50G+WXpZH4F+fSE9wTy33zzzXRf/nbhZD7BOT2BfuzJk/g8/VU7PP3d+RXKM64Qn3+zX6MnyKdWX2vVl/iyZ/24vuSYPZIkSZIkSZL0R0dQ3oYHre3ddnfh76t9YE9P8M6Y4L7GPIwJ7wnuGfMQ3hPsV//q1aushPnUn3/+OXtCfB7+PkH+Dz/8MM0R5BPis1ZBfhfgU5B9V0c78/vC6HFt1h+6Yocx4f2hk/n0BPAV5jOuQL8/nU9PmF9hPbXGhPn8e9VXyE5PrfV6HeNSe8vYrzl2nyRJkiRJkiT9kVWofqy1/TVPmJ4ToeYI6qmsMVfzfbDPWq331+jQE8LXKXweek7iV4hPYP/TTz9NgT09f5/gfvxxW+b70/hDkJ/jph/3duaPCaPHPdVnffbsWdYK8kGYTyXQJ7wnjF87mf/FF1/cozJHyN7GJ59++ukU1vNwd34F8fXwbzBHwM+YOfoK2WtPH+RTa77UfBl7SZIkSZIkSdLtqwB+VPOE6jnR1PwY5DOm0hPa9309fXBfTwX4NaaOJ/EJ8Qntv/vuu3s1N4b41D1345dD/eSYwHrc0/ebs7OznVP5pU7nE96vncz/8ssv+X+LqAA/A3rG/d35VJ6YyxCeOcJ2xvw7Vfv79Pv5PphnHPtyXOs9Q3xJkiRJkiRJ+ngqiB8RprfhFNyj3197qMxXiE9fcwTvFeLXGnNUQnzGNb90Ep/Qnufvf/97BvnHhPj4mEH+zhU7ZenOfOrTp09nYT5zBPMV2P/5z3/OYJ9xH+JzQp+91fNUT+UanqX5MZjvT+/nxMAgX5IkSZIkSZI+nmOCfPQn7XOi6QN6HkL7vq+HOYL48QQ+832AX/v6EJ+5+nHbD3ASv6zNf7ggH32Yf+yd+cwT3FeYv3TVDnv6E/r0Y2BPkE9lvcL4cQ8qyMdaaN/vlyRJkiRJkiTdjQrSR0vhfn/aPidCjevkPeMxyK/52lun8OkJ65mj74P8McR/9OjR9YsXL1ZDfHzsIL/M5vf9+C117WR+P7cv0Gedfgzn+5P6+2oF/aXmR2vzkiRJkiRJkqTbVeH6krW1PqjfV1+9ejWduK/aB/j/+c9/cp65PsCnEuDXj9pWTyXI33MSn4Lsu7pmdf2Y0Hptz2x+6WT+vjC/TuZXX7XC/P7ufNYYUytor3lO6lPH+er7YH4M82vvyOt1JEmSJEmSJOnurF2n06sQvVchPpZC+r7n5D11nCesZ44T+PSM+wC/al2lQ3/kSXzKNB/68ZLV9WMC60N7ZuuHTuZjPJ1PoP7NN98sBvq1TiWUrzv0q6diX4CPOrlfxvWyNi9JkiRJkiRJuj0VrB8y7uOkfRumWq86Bvc///zzznrtWQrw+x+1Ze6IO/EpyL6raw6t316Qj31hPvad0K9Qv0L7Cuo/++yzWV/WTuyXOrlf9gX242slSZIkSZIkSbengvRDxhAfddIe/d+pvRXO11p/8p6KpQCfyl34f/vb36b+UIiPD3kSvxwTWB8bas/2jSfzUYE+xut2UOE9Qfp4Qp86hvpj4E44z4l91N4yBveHwnpP5kuSJEmSJEnS7VsK55eshf396yuQR915z7heW7Xfhz7ArxP4/fwY4GPhJP601oz96ND65Jiw+thAe7Zv6WR+Wbs7vxDcL92hjzHULxXMc7c+1tbLuD4yyJckSZIkSZKk23dskD+G72UM+Gvfjz/+mP1SeN8H9znRHDqBX1ZO4s/2hLEfHVqfvE1Yfeze2b4+0Md43Q6W7s9HhfaE8JzQLzXfB/w4FN7vO4X/xRdf7F2XJEmSJEmSJN0uQvd///vfrTtsDPHXQv0xsKfvT96XMcDH0g/a4i5O4pe3Ca6P3Tvbtxbkow/zcewJ/TIG+WNfDp2+J8Cvk/ySJEmSJEmSpI+Hk/RjwL7P0kn9peCeyon7nAj9yfvSB/g4FOLjtxbkl2NfM+7L/uzsLJu163aw70dxc6LpT9D3d+qP1ubLoaBfkiRJkiRJknR31q7RGY1BfGGeE/el/sPAscF96QP8PrzHXQT45V0C7GNfs7RvU0E+9oX5WAv0RwT1nNgfjSf4R4cCfkmSJEmSJEnSx7cW2Jf+pH055sR92RfgYwzx8VsP8svbvnbcn/37BPtlX8Dfhou8E1+SJEmSJEmSfvsOXbWzFvQfOnFfxuAeR5zAL2vz5dD6Qe8TZL/ta5f2z07olzHQL2OwX9YC/tFa4C9JkiRJkiRJ+v+xdrJ+dOik/ZojT+DjmL931L+5z4cItt/1b6y9LufHgH8t3MdawD86NvCXJEmSJEmSJP12rZ2sHx1z0n7Ne5zAL8fuO+hDBNvv+jf2ve6tTuqXYwN9SZIkSZIkSdLv176T93/UIH/N2/7tvfvPzs4O/r1DQb8kSZIkSZIk6fdvX1j//PnzNrq1QP6DBfjlpNXfBf7H6Z82LUmSJEmSJEn6A3iLbPj/Kj++yxPs7/pvvc979IS+JEmSJEmSJP1xvE9A/77h/q39x4HTVu+CgbwkSZIkSZIkSW/pYwbkd/Vv+x8BJEmSJEmSJOmP566uz7n1f+d3dUe+JEmSJEmSJEm/N/8Pp9U9US9JkiRJkiRJumt3daL/IE/kS5IkSZIkSZIkSZIkSZIkSZL09u7d+x843Djx+deo3gAAAABJRU5ErkJggg==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0513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2" y="101040"/>
            <a:ext cx="12278884" cy="6030819"/>
          </a:xfrm>
        </p:spPr>
      </p:pic>
    </p:spTree>
    <p:extLst>
      <p:ext uri="{BB962C8B-B14F-4D97-AF65-F5344CB8AC3E}">
        <p14:creationId xmlns:p14="http://schemas.microsoft.com/office/powerpoint/2010/main" val="30734693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079EAE7D-02C2-9FD0-4A69-956867BC5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 anchor="t">
            <a:noAutofit/>
          </a:bodyPr>
          <a:lstStyle/>
          <a:p>
            <a:r>
              <a:rPr lang="nb-NO" sz="3600"/>
              <a:t>Nye studenter får studiestart-programmet sitt i timeplane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1F0CC2F5-D020-7048-F612-E5CA2413E2F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FAB236DC-FBC4-DFAA-D787-75389FD6CF8A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</p:txBody>
      </p:sp>
      <p:sp>
        <p:nvSpPr>
          <p:cNvPr id="18" name="Footer Placeholder 6">
            <a:extLst>
              <a:ext uri="{FF2B5EF4-FFF2-40B4-BE49-F238E27FC236}">
                <a16:creationId xmlns:a16="http://schemas.microsoft.com/office/drawing/2014/main" id="{690E0109-5881-75DA-9EA8-9699882203F0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F36C95E8-49EC-1A96-8845-00747E7F482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88A5B6E-E550-799B-4B14-542801EEA07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B34EE08D-A175-EC83-61E6-CD03C4A6E3F7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A50CAA8-EB6A-953F-A26B-B2E0071E91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2562" y="916012"/>
            <a:ext cx="77692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4472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236612BA-5D25-5B65-D4A6-70ED121E54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7DE646A-07DC-A0B9-8AEE-4ABE71065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7" name="Undertittel 6">
            <a:extLst>
              <a:ext uri="{FF2B5EF4-FFF2-40B4-BE49-F238E27FC236}">
                <a16:creationId xmlns:a16="http://schemas.microsoft.com/office/drawing/2014/main" id="{6D34179A-0E20-4CA1-ECBB-7A02A58E728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195BAB31-AB33-5D92-1D71-BB5FF1E6CC22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Brukernavn og pass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Betale semesteravgift</a:t>
            </a:r>
            <a:endParaRPr lang="nb-NO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Registrer deg i </a:t>
            </a:r>
            <a:r>
              <a:rPr lang="nb-NO" sz="1600" err="1"/>
              <a:t>Studentweb</a:t>
            </a:r>
            <a:endParaRPr lang="nb-NO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Søk plass på emner</a:t>
            </a:r>
            <a:endParaRPr lang="nb-NO" sz="1600">
              <a:cs typeface="Arial"/>
            </a:endParaRPr>
          </a:p>
          <a:p>
            <a:pPr marL="285750" indent="-285750">
              <a:buFont typeface="Arial,Sans-Serif" panose="020B0604020202020204" pitchFamily="34" charset="0"/>
              <a:buChar char="•"/>
            </a:pPr>
            <a:r>
              <a:rPr lang="nb-NO" sz="1600">
                <a:cs typeface="Arial"/>
              </a:rPr>
              <a:t>Skaff deg studentbev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Skaff deg studentkort</a:t>
            </a:r>
            <a:endParaRPr lang="nb-NO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Politiattest (for de som skal ha det)</a:t>
            </a:r>
            <a:endParaRPr lang="nb-NO" sz="16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Lenke til programmets studiestart-sider på uio.no</a:t>
            </a:r>
            <a:endParaRPr lang="nb-NO" sz="1600">
              <a:cs typeface="Arial"/>
            </a:endParaRPr>
          </a:p>
          <a:p>
            <a:pPr marL="0" indent="0">
              <a:buNone/>
            </a:pPr>
            <a:endParaRPr/>
          </a:p>
        </p:txBody>
      </p:sp>
      <p:sp>
        <p:nvSpPr>
          <p:cNvPr id="9" name="Tittel 4">
            <a:extLst>
              <a:ext uri="{FF2B5EF4-FFF2-40B4-BE49-F238E27FC236}">
                <a16:creationId xmlns:a16="http://schemas.microsoft.com/office/drawing/2014/main" id="{EA538A96-3B5B-9770-2E6B-FCB38F5E2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10906323" cy="542658"/>
          </a:xfrm>
        </p:spPr>
        <p:txBody>
          <a:bodyPr/>
          <a:lstStyle/>
          <a:p>
            <a:r>
              <a:rPr lang="nb-NO"/>
              <a:t>Sjekkliste for studiestart i Mine studier</a:t>
            </a:r>
            <a:endParaRPr/>
          </a:p>
        </p:txBody>
      </p:sp>
      <p:pic>
        <p:nvPicPr>
          <p:cNvPr id="21" name="Grafikk 20" descr="Avmerking">
            <a:extLst>
              <a:ext uri="{FF2B5EF4-FFF2-40B4-BE49-F238E27FC236}">
                <a16:creationId xmlns:a16="http://schemas.microsoft.com/office/drawing/2014/main" id="{4B065D15-247A-59E4-90F4-2A39A80BB7F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9373" y="1613453"/>
            <a:ext cx="494749" cy="494749"/>
          </a:xfrm>
          <a:prstGeom prst="rect">
            <a:avLst/>
          </a:prstGeom>
        </p:spPr>
      </p:pic>
      <p:pic>
        <p:nvPicPr>
          <p:cNvPr id="22" name="Grafikk 21" descr="Avmerking">
            <a:extLst>
              <a:ext uri="{FF2B5EF4-FFF2-40B4-BE49-F238E27FC236}">
                <a16:creationId xmlns:a16="http://schemas.microsoft.com/office/drawing/2014/main" id="{7C945DF2-69BC-E307-0080-D214F90841E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29372" y="1941459"/>
            <a:ext cx="494749" cy="494749"/>
          </a:xfrm>
          <a:prstGeom prst="rect">
            <a:avLst/>
          </a:prstGeom>
        </p:spPr>
      </p:pic>
      <p:pic>
        <p:nvPicPr>
          <p:cNvPr id="23" name="Grafikk 22" descr="Avmerking">
            <a:extLst>
              <a:ext uri="{FF2B5EF4-FFF2-40B4-BE49-F238E27FC236}">
                <a16:creationId xmlns:a16="http://schemas.microsoft.com/office/drawing/2014/main" id="{F29724B3-872E-D610-3B55-BC54BB3546F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38947" y="2332879"/>
            <a:ext cx="494749" cy="494749"/>
          </a:xfrm>
          <a:prstGeom prst="rect">
            <a:avLst/>
          </a:prstGeom>
        </p:spPr>
      </p:pic>
      <p:pic>
        <p:nvPicPr>
          <p:cNvPr id="2" name="Plassholder for innhold 15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B0C9FF20-C6F3-145C-F1B3-B845F49B53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571" y="1358068"/>
            <a:ext cx="2987697" cy="5471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832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">
            <a:extLst>
              <a:ext uri="{FF2B5EF4-FFF2-40B4-BE49-F238E27FC236}">
                <a16:creationId xmlns:a16="http://schemas.microsoft.com/office/drawing/2014/main" id="{ABBB9414-D871-DD12-CDE0-90D940E04EE1}"/>
              </a:ext>
            </a:extLst>
          </p:cNvPr>
          <p:cNvSpPr/>
          <p:nvPr/>
        </p:nvSpPr>
        <p:spPr>
          <a:xfrm>
            <a:off x="6096000" y="0"/>
            <a:ext cx="6096000" cy="7273974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7" name="Rektangel">
            <a:extLst>
              <a:ext uri="{FF2B5EF4-FFF2-40B4-BE49-F238E27FC236}">
                <a16:creationId xmlns:a16="http://schemas.microsoft.com/office/drawing/2014/main" id="{C36A7D8A-5DA3-1E69-61FD-B0F89751FE5A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B04369B1-163F-5AF2-20D4-9C477B710D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871" y="825753"/>
            <a:ext cx="5161167" cy="1970001"/>
          </a:xfrm>
        </p:spPr>
        <p:txBody>
          <a:bodyPr/>
          <a:lstStyle/>
          <a:p>
            <a:pPr algn="l"/>
            <a:r>
              <a:rPr lang="nb-NO" sz="4800" b="1" dirty="0"/>
              <a:t>Studiestart</a:t>
            </a:r>
            <a:br>
              <a:rPr lang="nb-NO" sz="4500" dirty="0"/>
            </a:br>
            <a:r>
              <a:rPr lang="en-US" sz="2400" dirty="0" err="1">
                <a:latin typeface="+mn-lt"/>
                <a:cs typeface="Calibri Light"/>
              </a:rPr>
              <a:t>Sjekkliste</a:t>
            </a:r>
            <a:r>
              <a:rPr lang="en-US" sz="2400" dirty="0">
                <a:latin typeface="+mn-lt"/>
                <a:cs typeface="Calibri Light"/>
              </a:rPr>
              <a:t> </a:t>
            </a:r>
            <a:r>
              <a:rPr lang="en-US" sz="2400" dirty="0" err="1">
                <a:latin typeface="+mn-lt"/>
                <a:cs typeface="Calibri Light"/>
              </a:rPr>
              <a:t>og</a:t>
            </a:r>
            <a:r>
              <a:rPr lang="en-US" sz="2400" dirty="0">
                <a:latin typeface="+mn-lt"/>
                <a:cs typeface="Calibri Light"/>
              </a:rPr>
              <a:t> </a:t>
            </a:r>
            <a:r>
              <a:rPr lang="en-US" sz="2400" dirty="0" err="1">
                <a:latin typeface="+mn-lt"/>
                <a:cs typeface="Calibri Light"/>
              </a:rPr>
              <a:t>studiestartprogram</a:t>
            </a:r>
            <a:r>
              <a:rPr lang="en-US" sz="2400" dirty="0">
                <a:latin typeface="+mn-lt"/>
                <a:cs typeface="Calibri Light"/>
              </a:rPr>
              <a:t> </a:t>
            </a:r>
            <a:r>
              <a:rPr lang="en-US" sz="2400" dirty="0" err="1">
                <a:latin typeface="+mn-lt"/>
                <a:cs typeface="Calibri Light"/>
              </a:rPr>
              <a:t>i</a:t>
            </a:r>
            <a:r>
              <a:rPr lang="en-US" sz="2400" dirty="0">
                <a:latin typeface="+mn-lt"/>
                <a:cs typeface="Calibri Light"/>
              </a:rPr>
              <a:t> </a:t>
            </a:r>
            <a:r>
              <a:rPr lang="en-US" sz="2400" dirty="0" err="1">
                <a:latin typeface="+mn-lt"/>
                <a:cs typeface="Calibri Light"/>
              </a:rPr>
              <a:t>timeplanen</a:t>
            </a:r>
            <a:br>
              <a:rPr lang="en-US" sz="2400" dirty="0">
                <a:cs typeface="Calibri Light"/>
              </a:rPr>
            </a:br>
            <a:r>
              <a:rPr lang="en-US" sz="2400" dirty="0" err="1">
                <a:cs typeface="Calibri Light"/>
              </a:rPr>
              <a:t>Mål</a:t>
            </a:r>
            <a:r>
              <a:rPr lang="en-US" sz="2400" dirty="0">
                <a:cs typeface="Calibri Light"/>
              </a:rPr>
              <a:t>: Trygge </a:t>
            </a:r>
            <a:r>
              <a:rPr lang="en-US" sz="2400" dirty="0" err="1">
                <a:cs typeface="Calibri Light"/>
              </a:rPr>
              <a:t>studentene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og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gi</a:t>
            </a:r>
            <a:r>
              <a:rPr lang="en-US" sz="2400" dirty="0">
                <a:cs typeface="Calibri Light"/>
              </a:rPr>
              <a:t> dem </a:t>
            </a:r>
            <a:r>
              <a:rPr lang="en-US" sz="2400" dirty="0" err="1">
                <a:cs typeface="Calibri Light"/>
              </a:rPr>
              <a:t>en</a:t>
            </a:r>
            <a:r>
              <a:rPr lang="en-US" sz="2400" dirty="0">
                <a:cs typeface="Calibri Light"/>
              </a:rPr>
              <a:t> god </a:t>
            </a:r>
            <a:r>
              <a:rPr lang="en-US" sz="2400" dirty="0" err="1">
                <a:cs typeface="Calibri Light"/>
              </a:rPr>
              <a:t>overgang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til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studielivet</a:t>
            </a:r>
            <a:br>
              <a:rPr lang="en-GB" sz="2800" dirty="0"/>
            </a:br>
            <a:endParaRPr lang="nb-NO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86E8E7E-F77C-EF35-5F0A-C5B684FAEE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Bilde 7" descr="Et bilde som inneholder silhuetter, linjetegning&#10;&#10;Automatisk generert beskrivelse">
            <a:extLst>
              <a:ext uri="{FF2B5EF4-FFF2-40B4-BE49-F238E27FC236}">
                <a16:creationId xmlns:a16="http://schemas.microsoft.com/office/drawing/2014/main" id="{092AE739-CBC5-3BAC-C1F1-BE90F80FF10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3175" y="2998623"/>
            <a:ext cx="3023496" cy="3023496"/>
          </a:xfrm>
          <a:prstGeom prst="rect">
            <a:avLst/>
          </a:prstGeom>
        </p:spPr>
      </p:pic>
      <p:pic>
        <p:nvPicPr>
          <p:cNvPr id="5" name="Bilde 25" descr="Bilde 25">
            <a:extLst>
              <a:ext uri="{FF2B5EF4-FFF2-40B4-BE49-F238E27FC236}">
                <a16:creationId xmlns:a16="http://schemas.microsoft.com/office/drawing/2014/main" id="{87B45011-6692-56CC-3AE0-918A8EA5D73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9625" t="22778" r="26966"/>
          <a:stretch>
            <a:fillRect/>
          </a:stretch>
        </p:blipFill>
        <p:spPr>
          <a:xfrm flipH="1">
            <a:off x="10202133" y="4422666"/>
            <a:ext cx="1862783" cy="2693292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tel 2">
            <a:extLst>
              <a:ext uri="{FF2B5EF4-FFF2-40B4-BE49-F238E27FC236}">
                <a16:creationId xmlns:a16="http://schemas.microsoft.com/office/drawing/2014/main" id="{1DF887DF-3AC9-C6EA-6F22-216FB31A9A98}"/>
              </a:ext>
            </a:extLst>
          </p:cNvPr>
          <p:cNvSpPr txBox="1">
            <a:spLocks/>
          </p:cNvSpPr>
          <p:nvPr/>
        </p:nvSpPr>
        <p:spPr>
          <a:xfrm>
            <a:off x="6793485" y="2062906"/>
            <a:ext cx="5161167" cy="1970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highlight>
                  <a:srgbClr val="FFFFFF"/>
                </a:highlight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4800" b="1" dirty="0"/>
              <a:t>Suksess</a:t>
            </a:r>
            <a:br>
              <a:rPr lang="nb-NO" sz="4500" dirty="0"/>
            </a:br>
            <a:br>
              <a:rPr lang="nb-NO" sz="4500" dirty="0"/>
            </a:br>
            <a:r>
              <a:rPr lang="en-US" sz="2400" dirty="0">
                <a:cs typeface="Calibri Light"/>
              </a:rPr>
              <a:t>82 % av </a:t>
            </a:r>
            <a:r>
              <a:rPr lang="en-US" sz="2400" dirty="0" err="1">
                <a:cs typeface="Calibri Light"/>
              </a:rPr>
              <a:t>UiOs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studenter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logget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på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i</a:t>
            </a:r>
            <a:r>
              <a:rPr lang="en-US" sz="2400" dirty="0">
                <a:cs typeface="Calibri Light"/>
              </a:rPr>
              <a:t> august - </a:t>
            </a:r>
            <a:r>
              <a:rPr lang="en-US" sz="2400" dirty="0" err="1">
                <a:cs typeface="Calibri Light"/>
              </a:rPr>
              <a:t>så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og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si</a:t>
            </a:r>
            <a:r>
              <a:rPr lang="en-US" sz="2400" dirty="0">
                <a:cs typeface="Calibri Light"/>
              </a:rPr>
              <a:t> "alle" nye</a:t>
            </a:r>
          </a:p>
          <a:p>
            <a:pPr algn="l"/>
            <a:endParaRPr lang="en-US" sz="2400" dirty="0">
              <a:cs typeface="Calibri Light"/>
            </a:endParaRPr>
          </a:p>
          <a:p>
            <a:pPr algn="l"/>
            <a:r>
              <a:rPr lang="en-US" sz="2400" dirty="0">
                <a:cs typeface="Calibri Light"/>
              </a:rPr>
              <a:t>30-50 % </a:t>
            </a:r>
            <a:r>
              <a:rPr lang="en-US" sz="2400" dirty="0" err="1">
                <a:cs typeface="Calibri Light"/>
              </a:rPr>
              <a:t>økning</a:t>
            </a:r>
            <a:r>
              <a:rPr lang="en-US" sz="2400" dirty="0">
                <a:cs typeface="Calibri Light"/>
              </a:rPr>
              <a:t> </a:t>
            </a:r>
            <a:r>
              <a:rPr lang="en-US" sz="2400" dirty="0" err="1">
                <a:cs typeface="Calibri Light"/>
              </a:rPr>
              <a:t>i</a:t>
            </a:r>
            <a:r>
              <a:rPr lang="en-US" sz="2400" dirty="0">
                <a:cs typeface="Calibri Light"/>
              </a:rPr>
              <a:t> </a:t>
            </a:r>
            <a:r>
              <a:rPr lang="en-US" sz="2400" dirty="0" err="1">
                <a:cs typeface="Calibri Light"/>
              </a:rPr>
              <a:t>antall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brukere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før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og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i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studiestartperioden</a:t>
            </a:r>
            <a:r>
              <a:rPr lang="en-US" sz="2400" dirty="0">
                <a:cs typeface="Calibri Light"/>
              </a:rPr>
              <a:t> </a:t>
            </a:r>
          </a:p>
          <a:p>
            <a:pPr algn="l"/>
            <a:endParaRPr lang="en-US" sz="2400" dirty="0">
              <a:cs typeface="Calibri Light"/>
            </a:endParaRPr>
          </a:p>
          <a:p>
            <a:pPr algn="l"/>
            <a:r>
              <a:rPr lang="en-US" sz="2400" dirty="0" err="1">
                <a:cs typeface="Calibri Light"/>
              </a:rPr>
              <a:t>Bruken</a:t>
            </a:r>
            <a:r>
              <a:rPr lang="en-US" sz="2400" dirty="0">
                <a:cs typeface="Calibri Light"/>
              </a:rPr>
              <a:t> av </a:t>
            </a:r>
            <a:r>
              <a:rPr lang="en-US" sz="2400" dirty="0" err="1">
                <a:cs typeface="Calibri Light"/>
              </a:rPr>
              <a:t>appen</a:t>
            </a:r>
            <a:r>
              <a:rPr lang="en-US" sz="2400" dirty="0">
                <a:cs typeface="Calibri Light"/>
              </a:rPr>
              <a:t> </a:t>
            </a:r>
            <a:r>
              <a:rPr lang="en-US" sz="2400" dirty="0" err="1">
                <a:cs typeface="Calibri Light"/>
              </a:rPr>
              <a:t>økte</a:t>
            </a:r>
            <a:r>
              <a:rPr lang="en-US" sz="2400" dirty="0">
                <a:cs typeface="Calibri Light"/>
              </a:rPr>
              <a:t> med 140% </a:t>
            </a:r>
            <a:r>
              <a:rPr lang="en-US" sz="2400" dirty="0" err="1">
                <a:cs typeface="Calibri Light"/>
              </a:rPr>
              <a:t>i</a:t>
            </a:r>
            <a:r>
              <a:rPr lang="en-US" sz="2400" dirty="0">
                <a:cs typeface="Calibri Light"/>
              </a:rPr>
              <a:t> august</a:t>
            </a:r>
          </a:p>
          <a:p>
            <a:pPr algn="l"/>
            <a:br>
              <a:rPr lang="en-GB" sz="2800" dirty="0"/>
            </a:br>
            <a:endParaRPr lang="nb-NO" dirty="0"/>
          </a:p>
        </p:txBody>
      </p:sp>
      <p:pic>
        <p:nvPicPr>
          <p:cNvPr id="10" name="Plassholder for innhold 15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92C406BC-9C24-61D7-3E00-B9070E83D3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539" y="3263068"/>
            <a:ext cx="1783246" cy="329597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E04130-725E-89E4-8133-B3169A7E74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7175" y="3042237"/>
            <a:ext cx="2361527" cy="2077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722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">
            <a:extLst>
              <a:ext uri="{FF2B5EF4-FFF2-40B4-BE49-F238E27FC236}">
                <a16:creationId xmlns:a16="http://schemas.microsoft.com/office/drawing/2014/main" id="{ABBB9414-D871-DD12-CDE0-90D940E04EE1}"/>
              </a:ext>
            </a:extLst>
          </p:cNvPr>
          <p:cNvSpPr/>
          <p:nvPr/>
        </p:nvSpPr>
        <p:spPr>
          <a:xfrm>
            <a:off x="6096000" y="0"/>
            <a:ext cx="6096000" cy="7273974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7" name="Rektangel">
            <a:extLst>
              <a:ext uri="{FF2B5EF4-FFF2-40B4-BE49-F238E27FC236}">
                <a16:creationId xmlns:a16="http://schemas.microsoft.com/office/drawing/2014/main" id="{C36A7D8A-5DA3-1E69-61FD-B0F89751FE5A}"/>
              </a:ext>
            </a:extLst>
          </p:cNvPr>
          <p:cNvSpPr/>
          <p:nvPr/>
        </p:nvSpPr>
        <p:spPr>
          <a:xfrm>
            <a:off x="-1" y="0"/>
            <a:ext cx="6096001" cy="6858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B04369B1-163F-5AF2-20D4-9C477B710D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774" y="1010108"/>
            <a:ext cx="5161167" cy="1970001"/>
          </a:xfrm>
        </p:spPr>
        <p:txBody>
          <a:bodyPr/>
          <a:lstStyle/>
          <a:p>
            <a:pPr algn="l"/>
            <a:r>
              <a:rPr lang="nb-NO" sz="4800" b="1"/>
              <a:t>82%</a:t>
            </a:r>
            <a:br>
              <a:rPr lang="nb-NO"/>
            </a:br>
            <a:br>
              <a:rPr lang="nb-NO"/>
            </a:br>
            <a:r>
              <a:rPr lang="en-US" sz="2400">
                <a:latin typeface="+mn-lt"/>
                <a:cs typeface="Calibri Light"/>
              </a:rPr>
              <a:t>av semesterregistrerte studenter logget på Mine studier minst én gang høsten 2022</a:t>
            </a:r>
            <a:br>
              <a:rPr lang="en-GB" sz="2800"/>
            </a:br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86E8E7E-F77C-EF35-5F0A-C5B684FAEE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Bilde 7" descr="Et bilde som inneholder silhuetter, linjetegning&#10;&#10;Automatisk generert beskrivelse">
            <a:extLst>
              <a:ext uri="{FF2B5EF4-FFF2-40B4-BE49-F238E27FC236}">
                <a16:creationId xmlns:a16="http://schemas.microsoft.com/office/drawing/2014/main" id="{092AE739-CBC5-3BAC-C1F1-BE90F80FF10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83" y="2998623"/>
            <a:ext cx="3023496" cy="3023496"/>
          </a:xfrm>
          <a:prstGeom prst="rect">
            <a:avLst/>
          </a:prstGeom>
        </p:spPr>
      </p:pic>
      <p:pic>
        <p:nvPicPr>
          <p:cNvPr id="5" name="Bilde 25" descr="Bilde 25">
            <a:extLst>
              <a:ext uri="{FF2B5EF4-FFF2-40B4-BE49-F238E27FC236}">
                <a16:creationId xmlns:a16="http://schemas.microsoft.com/office/drawing/2014/main" id="{87B45011-6692-56CC-3AE0-918A8EA5D73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9625" t="22778" r="26966"/>
          <a:stretch>
            <a:fillRect/>
          </a:stretch>
        </p:blipFill>
        <p:spPr>
          <a:xfrm flipH="1">
            <a:off x="9722810" y="3328827"/>
            <a:ext cx="1862783" cy="2693292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ittel 2">
            <a:extLst>
              <a:ext uri="{FF2B5EF4-FFF2-40B4-BE49-F238E27FC236}">
                <a16:creationId xmlns:a16="http://schemas.microsoft.com/office/drawing/2014/main" id="{1DF887DF-3AC9-C6EA-6F22-216FB31A9A98}"/>
              </a:ext>
            </a:extLst>
          </p:cNvPr>
          <p:cNvSpPr txBox="1">
            <a:spLocks/>
          </p:cNvSpPr>
          <p:nvPr/>
        </p:nvSpPr>
        <p:spPr>
          <a:xfrm>
            <a:off x="6805775" y="1091971"/>
            <a:ext cx="5161167" cy="1970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highlight>
                  <a:srgbClr val="FFFFFF"/>
                </a:highlight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nb-NO" sz="4800" b="1"/>
              <a:t>82%</a:t>
            </a:r>
            <a:br>
              <a:rPr lang="nb-NO"/>
            </a:br>
            <a:br>
              <a:rPr lang="nb-NO"/>
            </a:br>
            <a:r>
              <a:rPr lang="en-US" sz="2400">
                <a:cs typeface="Calibri Light"/>
              </a:rPr>
              <a:t>logget på Mine studier minst én gang </a:t>
            </a:r>
            <a:r>
              <a:rPr lang="en-US" sz="2400" err="1">
                <a:cs typeface="Calibri Light"/>
              </a:rPr>
              <a:t>mellom</a:t>
            </a:r>
            <a:r>
              <a:rPr lang="en-US" sz="2400">
                <a:cs typeface="Calibri Light"/>
              </a:rPr>
              <a:t> 2.08 - 03.09 2023 </a:t>
            </a:r>
          </a:p>
          <a:p>
            <a:pPr algn="l"/>
            <a:r>
              <a:rPr lang="en-US" sz="2400">
                <a:cs typeface="Calibri Light"/>
              </a:rPr>
              <a:t>– </a:t>
            </a:r>
            <a:r>
              <a:rPr lang="en-US" sz="2400" err="1">
                <a:cs typeface="Calibri Light"/>
              </a:rPr>
              <a:t>og</a:t>
            </a:r>
            <a:r>
              <a:rPr lang="en-US" sz="2400">
                <a:cs typeface="Calibri Light"/>
              </a:rPr>
              <a:t> </a:t>
            </a:r>
            <a:r>
              <a:rPr lang="en-US" sz="2400" err="1">
                <a:cs typeface="Calibri Light"/>
              </a:rPr>
              <a:t>så</a:t>
            </a:r>
            <a:r>
              <a:rPr lang="en-US" sz="2400">
                <a:cs typeface="Calibri Light"/>
              </a:rPr>
              <a:t> </a:t>
            </a:r>
            <a:r>
              <a:rPr lang="en-US" sz="2400" err="1">
                <a:cs typeface="Calibri Light"/>
              </a:rPr>
              <a:t>og</a:t>
            </a:r>
            <a:r>
              <a:rPr lang="en-US" sz="2400">
                <a:cs typeface="Calibri Light"/>
              </a:rPr>
              <a:t> </a:t>
            </a:r>
            <a:r>
              <a:rPr lang="en-US" sz="2400" err="1">
                <a:cs typeface="Calibri Light"/>
              </a:rPr>
              <a:t>si</a:t>
            </a:r>
            <a:r>
              <a:rPr lang="en-US" sz="2400">
                <a:cs typeface="Calibri Light"/>
              </a:rPr>
              <a:t> “alle” nye</a:t>
            </a:r>
            <a:endParaRPr lang="en-GB" sz="2400"/>
          </a:p>
          <a:p>
            <a:pPr algn="l"/>
            <a:br>
              <a:rPr lang="en-GB" sz="2800"/>
            </a:b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62185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928A3-D99B-2663-ED0C-104461B38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7AAD9E0-AABD-5276-7BC0-EA36F2EBC0E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1486398" y="497621"/>
            <a:ext cx="9139593" cy="555026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D47A0D-46F9-E4D7-CF01-7CB3C08583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969803-96D8-F536-3681-4FD5D4787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4398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9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700" b="0" i="0" u="none" strike="noStrike" kern="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ACC76BD7-E34C-2A27-38F9-C073CE0B8710}"/>
              </a:ext>
            </a:extLst>
          </p:cNvPr>
          <p:cNvSpPr txBox="1"/>
          <p:nvPr/>
        </p:nvSpPr>
        <p:spPr>
          <a:xfrm>
            <a:off x="316169" y="2567498"/>
            <a:ext cx="6074165" cy="34163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hangingPunct="0"/>
            <a:r>
              <a:rPr lang="nb-NO" sz="2000" dirty="0">
                <a:latin typeface="Helvetica Neue Thin"/>
                <a:ea typeface="Helvetica Neue Thin" panose="020B0403020202020204" pitchFamily="34" charset="0"/>
              </a:rPr>
              <a:t>Fra en ny student på UiO, rett fra </a:t>
            </a:r>
            <a:r>
              <a:rPr lang="nb-NO" sz="2000" dirty="0" err="1">
                <a:latin typeface="Helvetica Neue Thin"/>
                <a:ea typeface="Helvetica Neue Thin" panose="020B0403020202020204" pitchFamily="34" charset="0"/>
              </a:rPr>
              <a:t>Vgs</a:t>
            </a:r>
            <a:br>
              <a:rPr lang="nb-NO" sz="2000" dirty="0">
                <a:effectLst/>
                <a:latin typeface="Helvetica Neue Thin" panose="020B0403020202020204" pitchFamily="34" charset="0"/>
                <a:ea typeface="Helvetica Neue Thin" panose="020B0403020202020204" pitchFamily="34" charset="0"/>
              </a:rPr>
            </a:br>
            <a:br>
              <a:rPr lang="nb-NO" sz="2000" dirty="0">
                <a:effectLst/>
                <a:latin typeface="Helvetica Neue Thin" panose="020B0403020202020204" pitchFamily="34" charset="0"/>
                <a:ea typeface="Helvetica Neue Thin" panose="020B0403020202020204" pitchFamily="34" charset="0"/>
              </a:rPr>
            </a:br>
            <a:r>
              <a:rPr lang="nb-NO" sz="4400" dirty="0">
                <a:solidFill>
                  <a:schemeClr val="accent6"/>
                </a:solidFill>
                <a:effectLst/>
                <a:ea typeface="+mn-lt"/>
                <a:cs typeface="+mn-lt"/>
              </a:rPr>
              <a:t>“</a:t>
            </a:r>
            <a:r>
              <a:rPr lang="nb-NO" sz="4400" dirty="0">
                <a:solidFill>
                  <a:schemeClr val="accent6"/>
                </a:solidFill>
                <a:effectLst/>
                <a:latin typeface="Helvetica Neue Thin"/>
                <a:ea typeface="Helvetica Neue Thin" panose="020B0403020202020204" pitchFamily="34" charset="0"/>
              </a:rPr>
              <a:t>Mine studier er veldig viktig </a:t>
            </a:r>
            <a:r>
              <a:rPr lang="nb-NO" sz="4400" dirty="0">
                <a:solidFill>
                  <a:schemeClr val="accent6"/>
                </a:solidFill>
                <a:latin typeface="Helvetica Neue Thin"/>
                <a:ea typeface="Helvetica Neue Thin" panose="020B0403020202020204" pitchFamily="34" charset="0"/>
              </a:rPr>
              <a:t>særlig</a:t>
            </a:r>
            <a:r>
              <a:rPr lang="nb-NO" sz="4400" dirty="0">
                <a:solidFill>
                  <a:schemeClr val="accent6"/>
                </a:solidFill>
                <a:effectLst/>
                <a:latin typeface="Helvetica Neue Thin"/>
                <a:ea typeface="Helvetica Neue Thin" panose="020B0403020202020204" pitchFamily="34" charset="0"/>
              </a:rPr>
              <a:t> for oss nye, fordi det gjør at vi </a:t>
            </a:r>
            <a:r>
              <a:rPr lang="nb-NO" sz="4400" dirty="0">
                <a:solidFill>
                  <a:srgbClr val="3E30D7"/>
                </a:solidFill>
                <a:effectLst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tresser mindre</a:t>
            </a:r>
            <a:r>
              <a:rPr lang="nb-NO" sz="4400" dirty="0">
                <a:solidFill>
                  <a:schemeClr val="accent6"/>
                </a:solidFill>
                <a:effectLst/>
                <a:latin typeface="Helvetica Neue Thin"/>
                <a:ea typeface="Helvetica Neue Thin" panose="020B0403020202020204" pitchFamily="34" charset="0"/>
              </a:rPr>
              <a:t>.</a:t>
            </a:r>
            <a:r>
              <a:rPr lang="nb-NO" sz="4400" dirty="0">
                <a:solidFill>
                  <a:schemeClr val="accent6"/>
                </a:solidFill>
                <a:effectLst/>
                <a:ea typeface="+mn-lt"/>
                <a:cs typeface="+mn-lt"/>
              </a:rPr>
              <a:t>”</a:t>
            </a:r>
            <a:endParaRPr lang="nb-NO" sz="4400" dirty="0">
              <a:solidFill>
                <a:schemeClr val="accent6"/>
              </a:solidFill>
              <a:ea typeface="+mn-lt"/>
              <a:cs typeface="+mn-lt"/>
              <a:sym typeface="Arial"/>
            </a:endParaRPr>
          </a:p>
        </p:txBody>
      </p:sp>
      <p:pic>
        <p:nvPicPr>
          <p:cNvPr id="8" name="Bilde 7" descr="Et bilde som inneholder sketch, tegning, kunst, illustrasjon&#10;&#10;Automatisk generert beskrivelse">
            <a:extLst>
              <a:ext uri="{FF2B5EF4-FFF2-40B4-BE49-F238E27FC236}">
                <a16:creationId xmlns:a16="http://schemas.microsoft.com/office/drawing/2014/main" id="{3BF29F4A-8F95-36B0-043D-370C369CBD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2918" y="2632559"/>
            <a:ext cx="2568961" cy="2468626"/>
          </a:xfrm>
          <a:prstGeom prst="rect">
            <a:avLst/>
          </a:prstGeom>
        </p:spPr>
      </p:pic>
      <p:pic>
        <p:nvPicPr>
          <p:cNvPr id="10" name="Bilde 9" descr="Et bilde som inneholder sketch, tegning, kunst, strektegning&#10;&#10;Automatisk generert beskrivelse">
            <a:extLst>
              <a:ext uri="{FF2B5EF4-FFF2-40B4-BE49-F238E27FC236}">
                <a16:creationId xmlns:a16="http://schemas.microsoft.com/office/drawing/2014/main" id="{31A2BF23-F1C1-EA08-12A2-0166026CBD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97428" y="3866826"/>
            <a:ext cx="2853401" cy="3014420"/>
          </a:xfrm>
          <a:prstGeom prst="rect">
            <a:avLst/>
          </a:prstGeom>
        </p:spPr>
      </p:pic>
      <p:pic>
        <p:nvPicPr>
          <p:cNvPr id="12" name="Bilde 11" descr="Et bilde som inneholder sketch, tegning, kunst, illustrasjon&#10;&#10;Automatisk generert beskrivelse">
            <a:extLst>
              <a:ext uri="{FF2B5EF4-FFF2-40B4-BE49-F238E27FC236}">
                <a16:creationId xmlns:a16="http://schemas.microsoft.com/office/drawing/2014/main" id="{67C0DAA7-B077-BDA9-1F38-1AD919A168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61338" y="798416"/>
            <a:ext cx="3014420" cy="3014420"/>
          </a:xfrm>
          <a:prstGeom prst="rect">
            <a:avLst/>
          </a:prstGeom>
        </p:spPr>
      </p:pic>
      <p:sp>
        <p:nvSpPr>
          <p:cNvPr id="4" name="AutoShape 4" descr="https://noc-powerpoint.officeapps.live.com/pods/GetClipboardImage.ashx?Id=5db94bcb-fb9d-4d07-8d65-8673e73e6ecf&amp;DC=NO4&amp;pkey=13331ae2-11da-42ea-84f2-613be5db9904&amp;wdwaccluster=NO4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https://noc-powerpoint.officeapps.live.com/pods/GetClipboardImage.ashx?Id=597a85d9-8daa-46d9-9ab7-38cc1c55e323&amp;DC=NO4&amp;pkey=e0c51259-ca2b-4b76-828a-2176748116c0&amp;wdwaccluster=NO4"/>
          <p:cNvSpPr>
            <a:spLocks noChangeAspect="1" noChangeArrowheads="1"/>
          </p:cNvSpPr>
          <p:nvPr/>
        </p:nvSpPr>
        <p:spPr bwMode="auto">
          <a:xfrm>
            <a:off x="36512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474894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t>19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66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0502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0044" y="836300"/>
            <a:ext cx="5489214" cy="542658"/>
          </a:xfrm>
        </p:spPr>
        <p:txBody>
          <a:bodyPr/>
          <a:lstStyle/>
          <a:p>
            <a:r>
              <a:rPr lang="nb-NO" dirty="0"/>
              <a:t>Agenda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360044" y="1778047"/>
            <a:ext cx="4117827" cy="4301103"/>
          </a:xfrm>
        </p:spPr>
        <p:txBody>
          <a:bodyPr/>
          <a:lstStyle/>
          <a:p>
            <a:r>
              <a:rPr lang="en-US" dirty="0" err="1"/>
              <a:t>Digitalt</a:t>
            </a:r>
            <a:r>
              <a:rPr lang="en-US" dirty="0"/>
              <a:t> </a:t>
            </a:r>
            <a:r>
              <a:rPr lang="en-US" dirty="0" err="1"/>
              <a:t>læringsmiljø</a:t>
            </a:r>
            <a:r>
              <a:rPr lang="en-US" dirty="0"/>
              <a:t> 2030</a:t>
            </a:r>
          </a:p>
          <a:p>
            <a:r>
              <a:rPr lang="nb-NO" dirty="0"/>
              <a:t>Mine Studier</a:t>
            </a:r>
          </a:p>
          <a:p>
            <a:r>
              <a:rPr lang="nb-NO" dirty="0"/>
              <a:t>Canvas</a:t>
            </a:r>
            <a:endParaRPr lang="en-US" dirty="0"/>
          </a:p>
          <a:p>
            <a:pPr lvl="1"/>
            <a:endParaRPr lang="nb-NO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8" r="9505"/>
          <a:stretch/>
        </p:blipFill>
        <p:spPr>
          <a:xfrm>
            <a:off x="6653047" y="515808"/>
            <a:ext cx="4950374" cy="279114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047" y="3484736"/>
            <a:ext cx="4950374" cy="275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1438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9BE1BC0-9FA3-1143-0EA6-5FE3AAF6A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32" y="2503593"/>
            <a:ext cx="4569211" cy="1325563"/>
          </a:xfrm>
        </p:spPr>
        <p:txBody>
          <a:bodyPr/>
          <a:lstStyle/>
          <a:p>
            <a:r>
              <a:rPr lang="nb-NO"/>
              <a:t>Ambassadør-forum for ansatt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6ED983E-1E4A-77D8-16C5-A68F0E44D4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C2B260-336C-2594-337B-CC21EFEA33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0916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7C2DB36-6B0B-D2EA-D8B3-07C2ECF70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544513"/>
            <a:ext cx="10515600" cy="538106"/>
          </a:xfrm>
        </p:spPr>
        <p:txBody>
          <a:bodyPr/>
          <a:lstStyle/>
          <a:p>
            <a:r>
              <a:rPr lang="nb-NO" sz="3600"/>
              <a:t>Ambassadør-forum for ansatt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DD1C2D7-313D-8F6F-BA99-D57B3D016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288AB-831B-6B45-B943-8047C9D28843}" type="datetime1">
              <a:rPr lang="nb-NO" smtClean="0"/>
              <a:t>06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6DD0CCA-974B-4247-9E57-7CBA0B6AD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58577E4-CB80-0F11-1459-9860012E8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4BEF80-AE67-4A48-B009-03AE5E212B13}" type="slidenum">
              <a:rPr lang="nb-NO" smtClean="0"/>
              <a:t>21</a:t>
            </a:fld>
            <a:endParaRPr lang="nb-NO"/>
          </a:p>
        </p:txBody>
      </p:sp>
      <p:sp>
        <p:nvSpPr>
          <p:cNvPr id="7" name="Rektangel">
            <a:extLst>
              <a:ext uri="{FF2B5EF4-FFF2-40B4-BE49-F238E27FC236}">
                <a16:creationId xmlns:a16="http://schemas.microsoft.com/office/drawing/2014/main" id="{7E284D03-845A-A266-ABE0-884D29A0BC17}"/>
              </a:ext>
            </a:extLst>
          </p:cNvPr>
          <p:cNvSpPr/>
          <p:nvPr/>
        </p:nvSpPr>
        <p:spPr>
          <a:xfrm>
            <a:off x="762000" y="1601437"/>
            <a:ext cx="10504367" cy="40966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pic>
        <p:nvPicPr>
          <p:cNvPr id="9" name="Bilde 8" descr="Et bilde som inneholder mørk, natthimmel&#10;&#10;Automatisk generert beskrivelse">
            <a:extLst>
              <a:ext uri="{FF2B5EF4-FFF2-40B4-BE49-F238E27FC236}">
                <a16:creationId xmlns:a16="http://schemas.microsoft.com/office/drawing/2014/main" id="{2BCCAF00-08FF-03AC-A517-F8B95116BCF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9872" y="1895369"/>
            <a:ext cx="5277397" cy="5277397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0B1738FA-5AB4-B131-5BAB-40C09BBEAC5C}"/>
              </a:ext>
            </a:extLst>
          </p:cNvPr>
          <p:cNvSpPr txBox="1"/>
          <p:nvPr/>
        </p:nvSpPr>
        <p:spPr>
          <a:xfrm>
            <a:off x="1093339" y="2287274"/>
            <a:ext cx="289219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>
                <a:effectLst/>
              </a:rPr>
              <a:t>Som ansatt har jeg behov for:</a:t>
            </a:r>
          </a:p>
          <a:p>
            <a:r>
              <a:rPr lang="nb-NO">
                <a:effectLst/>
              </a:rPr>
              <a:t>- Riktig og nok informasjon om Mine studier</a:t>
            </a:r>
          </a:p>
          <a:p>
            <a:r>
              <a:rPr lang="nb-NO"/>
              <a:t>- Tilgang til tjenesten for å hjelpe studenter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4FD72FFC-A083-520F-AFA5-60918EA621C3}"/>
              </a:ext>
            </a:extLst>
          </p:cNvPr>
          <p:cNvSpPr txBox="1"/>
          <p:nvPr/>
        </p:nvSpPr>
        <p:spPr>
          <a:xfrm>
            <a:off x="1039881" y="1895369"/>
            <a:ext cx="289219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600" b="1">
                <a:solidFill>
                  <a:schemeClr val="accent3">
                    <a:lumMod val="75000"/>
                  </a:schemeClr>
                </a:solidFill>
              </a:rPr>
              <a:t>Økt tillitt</a:t>
            </a:r>
            <a:r>
              <a:rPr lang="nb-NO" sz="1600" b="1">
                <a:solidFill>
                  <a:schemeClr val="accent3">
                    <a:lumMod val="75000"/>
                  </a:schemeClr>
                </a:solidFill>
                <a:effectLst/>
              </a:rPr>
              <a:t> blant ansatte!</a:t>
            </a:r>
            <a:endParaRPr lang="nb-NO" sz="1600" b="1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1D4C09E-97D1-C132-8C46-4544FBC6B55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502"/>
          <a:stretch/>
        </p:blipFill>
        <p:spPr>
          <a:xfrm>
            <a:off x="6617865" y="2243065"/>
            <a:ext cx="4158108" cy="345050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0AB85439-7E16-C8B4-69EA-0186710C55ED}"/>
              </a:ext>
            </a:extLst>
          </p:cNvPr>
          <p:cNvSpPr txBox="1"/>
          <p:nvPr/>
        </p:nvSpPr>
        <p:spPr>
          <a:xfrm>
            <a:off x="3667648" y="2672546"/>
            <a:ext cx="2428363" cy="18928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/>
              <a:t>Oppretter </a:t>
            </a:r>
            <a:r>
              <a:rPr lang="nb-NO" b="1"/>
              <a:t>ambassadør-forum</a:t>
            </a:r>
            <a:r>
              <a:rPr lang="nb-NO"/>
              <a:t>:</a:t>
            </a:r>
          </a:p>
          <a:p>
            <a:endParaRPr lang="nb-NO"/>
          </a:p>
          <a:p>
            <a:pPr marL="171450" indent="-171450">
              <a:buFontTx/>
              <a:buChar char="-"/>
            </a:pPr>
            <a:r>
              <a:rPr lang="nb-NO"/>
              <a:t>deltakere fra institutt, fakultet og sentralt</a:t>
            </a:r>
            <a:endParaRPr lang="nb-NO">
              <a:cs typeface="Arial"/>
            </a:endParaRPr>
          </a:p>
          <a:p>
            <a:pPr marL="171450" indent="-171450">
              <a:buFontTx/>
              <a:buChar char="-"/>
            </a:pPr>
            <a:r>
              <a:rPr lang="nb-NO"/>
              <a:t>spre kunnskap om Mine studier på alle enhetene</a:t>
            </a:r>
            <a:endParaRPr lang="nb-NO">
              <a:cs typeface="Arial"/>
            </a:endParaRPr>
          </a:p>
          <a:p>
            <a:r>
              <a:rPr lang="nb-NO"/>
              <a:t>- bygge tillitt til tjenesten blant ansatte og studenter</a:t>
            </a:r>
            <a:endParaRPr lang="nb-NO">
              <a:cs typeface="Arial"/>
            </a:endParaRPr>
          </a:p>
          <a:p>
            <a:r>
              <a:rPr lang="nb-NO"/>
              <a:t>-tilgang til «</a:t>
            </a:r>
            <a:r>
              <a:rPr lang="nb-NO" err="1"/>
              <a:t>admin</a:t>
            </a:r>
            <a:r>
              <a:rPr lang="nb-NO"/>
              <a:t>» og statistikk</a:t>
            </a:r>
            <a:endParaRPr lang="nb-NO">
              <a:cs typeface="Arial"/>
            </a:endParaRPr>
          </a:p>
          <a:p>
            <a:r>
              <a:rPr lang="nb-NO"/>
              <a:t>- opplæring og nyheter</a:t>
            </a:r>
            <a:endParaRPr lang="nb-NO">
              <a:cs typeface="Arial"/>
            </a:endParaRPr>
          </a:p>
          <a:p>
            <a:r>
              <a:rPr lang="nb-NO"/>
              <a:t>- forum og deling av «best </a:t>
            </a:r>
            <a:r>
              <a:rPr lang="nb-NO" err="1"/>
              <a:t>practice</a:t>
            </a:r>
            <a:r>
              <a:rPr lang="nb-NO"/>
              <a:t>»</a:t>
            </a:r>
            <a:endParaRPr lang="nb-NO">
              <a:cs typeface="Arial"/>
            </a:endParaRPr>
          </a:p>
          <a:p>
            <a:pPr marL="171450" indent="-171450">
              <a:buFontTx/>
              <a:buChar char="-"/>
            </a:pPr>
            <a:endParaRPr lang="nb-NO" b="1"/>
          </a:p>
          <a:p>
            <a:pPr marL="171450" indent="-171450">
              <a:buFontTx/>
              <a:buChar char="-"/>
            </a:pPr>
            <a:endParaRPr lang="nb-NO" b="1"/>
          </a:p>
          <a:p>
            <a:pPr marL="171450" indent="-171450">
              <a:buFontTx/>
              <a:buChar char="-"/>
            </a:pPr>
            <a:endParaRPr lang="nb-NO" b="1"/>
          </a:p>
        </p:txBody>
      </p:sp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2499B56F-4797-40AD-99AA-A9190F5560C2}"/>
              </a:ext>
            </a:extLst>
          </p:cNvPr>
          <p:cNvCxnSpPr>
            <a:cxnSpLocks/>
          </p:cNvCxnSpPr>
          <p:nvPr/>
        </p:nvCxnSpPr>
        <p:spPr>
          <a:xfrm flipH="1">
            <a:off x="5859624" y="2926462"/>
            <a:ext cx="1022943" cy="712477"/>
          </a:xfrm>
          <a:prstGeom prst="line">
            <a:avLst/>
          </a:prstGeom>
          <a:ln w="9525"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DE19319E-28E7-06C7-F016-B49595CF82AF}"/>
              </a:ext>
            </a:extLst>
          </p:cNvPr>
          <p:cNvCxnSpPr>
            <a:cxnSpLocks/>
          </p:cNvCxnSpPr>
          <p:nvPr/>
        </p:nvCxnSpPr>
        <p:spPr>
          <a:xfrm flipV="1">
            <a:off x="2485977" y="3115614"/>
            <a:ext cx="1181671" cy="1034259"/>
          </a:xfrm>
          <a:prstGeom prst="line">
            <a:avLst/>
          </a:prstGeom>
          <a:ln w="9525"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uppe 42">
            <a:extLst>
              <a:ext uri="{FF2B5EF4-FFF2-40B4-BE49-F238E27FC236}">
                <a16:creationId xmlns:a16="http://schemas.microsoft.com/office/drawing/2014/main" id="{15309D7E-C96C-84AC-9B9B-5116E78F3E98}"/>
              </a:ext>
            </a:extLst>
          </p:cNvPr>
          <p:cNvGrpSpPr/>
          <p:nvPr/>
        </p:nvGrpSpPr>
        <p:grpSpPr>
          <a:xfrm>
            <a:off x="10172789" y="2064646"/>
            <a:ext cx="706265" cy="1034419"/>
            <a:chOff x="10125376" y="1915858"/>
            <a:chExt cx="893102" cy="1308067"/>
          </a:xfrm>
        </p:grpSpPr>
        <p:sp>
          <p:nvSpPr>
            <p:cNvPr id="41" name="Vinkeltegn 40">
              <a:extLst>
                <a:ext uri="{FF2B5EF4-FFF2-40B4-BE49-F238E27FC236}">
                  <a16:creationId xmlns:a16="http://schemas.microsoft.com/office/drawing/2014/main" id="{97410027-0E10-253E-4B4E-353DB4247182}"/>
                </a:ext>
              </a:extLst>
            </p:cNvPr>
            <p:cNvSpPr/>
            <p:nvPr/>
          </p:nvSpPr>
          <p:spPr>
            <a:xfrm rot="16842284">
              <a:off x="10143934" y="2686706"/>
              <a:ext cx="566661" cy="266961"/>
            </a:xfrm>
            <a:prstGeom prst="chevron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tx1"/>
                </a:solidFill>
              </a:endParaRPr>
            </a:p>
          </p:txBody>
        </p:sp>
        <p:sp>
          <p:nvSpPr>
            <p:cNvPr id="42" name="Vinkeltegn 41">
              <a:extLst>
                <a:ext uri="{FF2B5EF4-FFF2-40B4-BE49-F238E27FC236}">
                  <a16:creationId xmlns:a16="http://schemas.microsoft.com/office/drawing/2014/main" id="{C4E442B8-AD2D-5EEF-EF6E-11084A3F092A}"/>
                </a:ext>
              </a:extLst>
            </p:cNvPr>
            <p:cNvSpPr/>
            <p:nvPr/>
          </p:nvSpPr>
          <p:spPr>
            <a:xfrm rot="15315374">
              <a:off x="10408550" y="2764755"/>
              <a:ext cx="651378" cy="266961"/>
            </a:xfrm>
            <a:prstGeom prst="chevron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>
                <a:solidFill>
                  <a:schemeClr val="tx1"/>
                </a:solidFill>
              </a:endParaRPr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C1EEA79E-2249-184A-BDED-04F70D120FE4}"/>
                </a:ext>
              </a:extLst>
            </p:cNvPr>
            <p:cNvSpPr/>
            <p:nvPr/>
          </p:nvSpPr>
          <p:spPr>
            <a:xfrm>
              <a:off x="10125376" y="1915858"/>
              <a:ext cx="893102" cy="893102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" name="Stjerne med 7 tagger 39">
              <a:extLst>
                <a:ext uri="{FF2B5EF4-FFF2-40B4-BE49-F238E27FC236}">
                  <a16:creationId xmlns:a16="http://schemas.microsoft.com/office/drawing/2014/main" id="{746BED82-B64D-F0BA-1F5B-CF5EFB8ED7DE}"/>
                </a:ext>
              </a:extLst>
            </p:cNvPr>
            <p:cNvSpPr/>
            <p:nvPr/>
          </p:nvSpPr>
          <p:spPr>
            <a:xfrm>
              <a:off x="10274054" y="2050681"/>
              <a:ext cx="595746" cy="595746"/>
            </a:xfrm>
            <a:prstGeom prst="star7">
              <a:avLst>
                <a:gd name="adj" fmla="val 32390"/>
                <a:gd name="hf" fmla="val 102572"/>
                <a:gd name="vf" fmla="val 105210"/>
              </a:avLst>
            </a:prstGeom>
            <a:noFill/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0CAAD2C-62D8-2DBA-D171-BDCCFE992909}"/>
              </a:ext>
            </a:extLst>
          </p:cNvPr>
          <p:cNvSpPr txBox="1"/>
          <p:nvPr/>
        </p:nvSpPr>
        <p:spPr>
          <a:xfrm>
            <a:off x="8443158" y="551956"/>
            <a:ext cx="30235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800" b="1" dirty="0"/>
              <a:t>103 deltagere p.t</a:t>
            </a:r>
          </a:p>
        </p:txBody>
      </p:sp>
    </p:spTree>
    <p:extLst>
      <p:ext uri="{BB962C8B-B14F-4D97-AF65-F5344CB8AC3E}">
        <p14:creationId xmlns:p14="http://schemas.microsoft.com/office/powerpoint/2010/main" val="29413315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57E673D0-3356-E7B9-86C4-C6D59EF135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" b="8609"/>
          <a:stretch/>
        </p:blipFill>
        <p:spPr>
          <a:xfrm>
            <a:off x="120650" y="68263"/>
            <a:ext cx="11950700" cy="6143625"/>
          </a:xfrm>
          <a:prstGeom prst="rect">
            <a:avLst/>
          </a:prstGeom>
          <a:noFill/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D773051A-7551-2FD7-53BE-47D31A1C9E9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29DB606-C214-330D-C08C-ADA2E20109C8}"/>
              </a:ext>
            </a:extLst>
          </p:cNvPr>
          <p:cNvSpPr/>
          <p:nvPr/>
        </p:nvSpPr>
        <p:spPr>
          <a:xfrm>
            <a:off x="9818077" y="2608385"/>
            <a:ext cx="1969476" cy="445476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6022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ACC757D-3C59-460B-071C-70A876709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/>
              <a:t>August 2023 </a:t>
            </a:r>
            <a:r>
              <a:rPr lang="nb-NO" err="1"/>
              <a:t>vs</a:t>
            </a:r>
            <a:r>
              <a:rPr lang="nb-NO"/>
              <a:t> 2022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1C02CF7-4C63-5AD3-759C-DCFD82EA71C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95A83E75-A66D-054C-48AB-E7F822BE28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263F076-6598-06BF-0529-0FF303CA7FE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F9C58BBE-239E-A142-2B8D-2421F4BD89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C0E8D840-57FB-C5B5-78BD-C8924AC318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CECFC9B8-4626-7769-3D74-05F096F3CB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A08844FB-7AD2-BED5-EF75-D86D4220B54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EC0B0139-3411-8EF8-63FB-1CEEBD2A1C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4111" y="872695"/>
            <a:ext cx="5815762" cy="4659081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8CE7D0C7-EA25-39E2-4982-2EE5AFED19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600" y="851104"/>
            <a:ext cx="5608511" cy="43606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216069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>
            <a:extLst>
              <a:ext uri="{FF2B5EF4-FFF2-40B4-BE49-F238E27FC236}">
                <a16:creationId xmlns:a16="http://schemas.microsoft.com/office/drawing/2014/main" id="{BF34F8A6-11CC-110E-92F5-BEFAA56F97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5898" y="0"/>
            <a:ext cx="8080203" cy="7433787"/>
          </a:xfrm>
          <a:prstGeom prst="rect">
            <a:avLst/>
          </a:prstGeom>
          <a:noFill/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11E6EC70-AFB8-0CDF-5498-4122421BA29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3207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6848BB9-ACCF-2894-1AC2-83E062B00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B66149-EE46-0AB2-79DF-28CACD9ED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4C49CF4F-04CC-E938-362B-68907549A6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547" y="843866"/>
            <a:ext cx="5756467" cy="4803460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1965F37F-2B8D-70EB-9916-31129BA556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148"/>
          <a:stretch/>
        </p:blipFill>
        <p:spPr>
          <a:xfrm>
            <a:off x="6396246" y="2237990"/>
            <a:ext cx="5649652" cy="340933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CFBF96C8-54B7-705C-1C06-6CFDF88A42B0}"/>
                  </a:ext>
                </a:extLst>
              </p14:cNvPr>
              <p14:cNvContentPartPr/>
              <p14:nvPr/>
            </p14:nvContentPartPr>
            <p14:xfrm>
              <a:off x="4398600" y="6480000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CFBF96C8-54B7-705C-1C06-6CFDF88A42B0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389600" y="6471000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F7DDEA89-4707-EAAA-710B-871EAFD64CD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75663">
            <a:off x="5627785" y="4262724"/>
            <a:ext cx="1175353" cy="1159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6257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61E432-8127-40ED-B1CB-4531BE790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33" y="2503593"/>
            <a:ext cx="4497292" cy="1325563"/>
          </a:xfrm>
        </p:spPr>
        <p:txBody>
          <a:bodyPr/>
          <a:lstStyle/>
          <a:p>
            <a:r>
              <a:rPr lang="nb-NO"/>
              <a:t>Hva jobber vi med fremover?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40995CF-9435-DC8C-9262-FE6B944D29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052DC5F-53C2-13E6-E905-D2105C46E5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2187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343F1B-E99E-DC83-B0D0-DCA9CAE3B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/>
          <a:p>
            <a:r>
              <a:rPr lang="nb-NO"/>
              <a:t>Prioriteringer høsten 2023 og muligheter fremover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EF8E0894-4F07-C7B5-EB04-2219F2ADA9D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b="1"/>
              <a:t>Høsten 2023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69B74C97-24B0-34DB-9958-8FA911A94DBA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r>
              <a:rPr lang="nb-NO" sz="2200"/>
              <a:t>Sjekkliste ved hver semesterstart – for alle</a:t>
            </a:r>
          </a:p>
          <a:p>
            <a:r>
              <a:rPr lang="nb-NO" sz="2200"/>
              <a:t>Sjekkliste eller annen støtte i flere faser, for eksempel eksamen</a:t>
            </a:r>
          </a:p>
          <a:p>
            <a:r>
              <a:rPr lang="nb-NO" sz="2200"/>
              <a:t>Forenklet betalingsmåte for norske og utenlandske studenter</a:t>
            </a:r>
          </a:p>
          <a:p>
            <a:r>
              <a:rPr lang="nb-NO" sz="2200"/>
              <a:t>Forbedret mobildesign</a:t>
            </a:r>
          </a:p>
          <a:p>
            <a:r>
              <a:rPr lang="nb-NO" sz="2200"/>
              <a:t>Push-varsel på beskjeder fra Canvas</a:t>
            </a:r>
          </a:p>
          <a:p>
            <a:r>
              <a:rPr lang="nb-NO" sz="2400"/>
              <a:t>Ytterligere statistikk for ansatte</a:t>
            </a:r>
          </a:p>
          <a:p>
            <a:pPr marL="0" indent="0">
              <a:buNone/>
            </a:pPr>
            <a:br>
              <a:rPr lang="nb-NO"/>
            </a:br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83D5C5F-112B-596B-4B06-7CE28FA5FA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b="1"/>
              <a:t>Muligheter fremover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C4B2DE68-071A-E813-9AE9-A82D1984377D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  <a:ln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r>
              <a:rPr lang="nb-NO" sz="2000"/>
              <a:t>Bedre støtte for undervisere</a:t>
            </a:r>
          </a:p>
          <a:p>
            <a:r>
              <a:rPr lang="nb-NO" sz="2000" err="1"/>
              <a:t>Beskjedløsning</a:t>
            </a:r>
            <a:endParaRPr lang="nb-NO" sz="2000"/>
          </a:p>
          <a:p>
            <a:r>
              <a:rPr lang="nb-NO" sz="2000"/>
              <a:t>Tilgjengeliggjøring for nye studentgrupper: sommerskole, internasjonale studenter etc.</a:t>
            </a:r>
          </a:p>
          <a:p>
            <a:r>
              <a:rPr lang="nb-NO" sz="2000"/>
              <a:t>Skjule info (eks rombestilling) i timeplanen?</a:t>
            </a:r>
          </a:p>
          <a:p>
            <a:r>
              <a:rPr lang="nb-NO" sz="2000"/>
              <a:t>Legge inn egen info i timeplanen? </a:t>
            </a:r>
          </a:p>
          <a:p>
            <a:r>
              <a:rPr lang="nb-NO" sz="2000"/>
              <a:t>+++</a:t>
            </a:r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908D43A9-68F4-F768-C1EB-0E0D9191CAC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E7A93668-D212-C350-54C0-8040A14BC3BB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124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9BE1BC0-9FA3-1143-0EA6-5FE3AAF6A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32" y="2503593"/>
            <a:ext cx="4569211" cy="1325563"/>
          </a:xfrm>
        </p:spPr>
        <p:txBody>
          <a:bodyPr/>
          <a:lstStyle/>
          <a:p>
            <a:r>
              <a:rPr lang="nb-NO" dirty="0"/>
              <a:t>Canvas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6ED983E-1E4A-77D8-16C5-A68F0E44D4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C2B260-336C-2594-337B-CC21EFEA33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3515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0169" y="626300"/>
            <a:ext cx="5715831" cy="754068"/>
          </a:xfrm>
        </p:spPr>
        <p:txBody>
          <a:bodyPr/>
          <a:lstStyle/>
          <a:p>
            <a:r>
              <a:rPr lang="nb-NO" dirty="0"/>
              <a:t>Canva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6117103" cy="4354559"/>
          </a:xfrm>
        </p:spPr>
        <p:txBody>
          <a:bodyPr/>
          <a:lstStyle/>
          <a:p>
            <a:r>
              <a:rPr lang="nb-NO" dirty="0"/>
              <a:t>Alle fakulteter bruker Canvas, men ikke alle fagmiljø/studier </a:t>
            </a:r>
          </a:p>
          <a:p>
            <a:pPr lvl="1"/>
            <a:r>
              <a:rPr lang="nb-NO" dirty="0"/>
              <a:t>Unntak: </a:t>
            </a:r>
          </a:p>
          <a:p>
            <a:pPr lvl="2"/>
            <a:r>
              <a:rPr lang="nb-NO" sz="2000" dirty="0" err="1"/>
              <a:t>Profesjonsstudie</a:t>
            </a:r>
            <a:r>
              <a:rPr lang="nb-NO" sz="2000" dirty="0"/>
              <a:t> i medisin</a:t>
            </a:r>
          </a:p>
          <a:p>
            <a:pPr lvl="2"/>
            <a:r>
              <a:rPr lang="nb-NO" sz="2000" dirty="0"/>
              <a:t>Deler av IFI </a:t>
            </a:r>
          </a:p>
          <a:p>
            <a:r>
              <a:rPr lang="nb-NO" dirty="0"/>
              <a:t>Variasjon i innhold og bruk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272" y="1003334"/>
            <a:ext cx="5314560" cy="4465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889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61E432-8127-40ED-B1CB-4531BE790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33" y="2503593"/>
            <a:ext cx="4497292" cy="1325563"/>
          </a:xfrm>
        </p:spPr>
        <p:txBody>
          <a:bodyPr/>
          <a:lstStyle/>
          <a:p>
            <a:r>
              <a:rPr lang="nb-NO" dirty="0"/>
              <a:t>DLM 2030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40995CF-9435-DC8C-9262-FE6B944D29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052DC5F-53C2-13E6-E905-D2105C46E5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0393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0168" y="723308"/>
            <a:ext cx="5715831" cy="754068"/>
          </a:xfrm>
        </p:spPr>
        <p:txBody>
          <a:bodyPr/>
          <a:lstStyle/>
          <a:p>
            <a:r>
              <a:rPr lang="nb-NO" dirty="0"/>
              <a:t>Canva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r>
              <a:rPr lang="nb-NO" dirty="0"/>
              <a:t>UiO sin læringsplattform</a:t>
            </a:r>
          </a:p>
          <a:p>
            <a:r>
              <a:rPr lang="nb-NO" dirty="0"/>
              <a:t>Bruk av Canvas på UiO</a:t>
            </a:r>
          </a:p>
          <a:p>
            <a:pPr lvl="1"/>
            <a:r>
              <a:rPr lang="nb-NO" dirty="0" err="1"/>
              <a:t>Ca</a:t>
            </a:r>
            <a:r>
              <a:rPr lang="nb-NO" dirty="0"/>
              <a:t> 20 000 aktive studenter</a:t>
            </a:r>
          </a:p>
          <a:p>
            <a:pPr lvl="1"/>
            <a:r>
              <a:rPr lang="nb-NO" dirty="0" err="1"/>
              <a:t>Ca</a:t>
            </a:r>
            <a:r>
              <a:rPr lang="nb-NO" dirty="0"/>
              <a:t> 2000 aktive undervisere</a:t>
            </a:r>
          </a:p>
          <a:p>
            <a:pPr lvl="1"/>
            <a:endParaRPr lang="nb-NO" dirty="0"/>
          </a:p>
          <a:p>
            <a:endParaRPr lang="nb-NO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7974" y="1250709"/>
            <a:ext cx="7003858" cy="3959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1123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C3D110-040D-4C4D-8686-9341D3660221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31</a:t>
            </a:fld>
            <a:endParaRPr lang="en-US" dirty="0"/>
          </a:p>
        </p:txBody>
      </p:sp>
      <p:sp>
        <p:nvSpPr>
          <p:cNvPr id="2057" name="Title 3">
            <a:extLst>
              <a:ext uri="{FF2B5EF4-FFF2-40B4-BE49-F238E27FC236}">
                <a16:creationId xmlns:a16="http://schemas.microsoft.com/office/drawing/2014/main" id="{207D472B-496A-E094-88B1-4BABA2D90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/>
              <a:t>Canvas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UiO</a:t>
            </a:r>
            <a:endParaRPr lang="en-US" dirty="0"/>
          </a:p>
        </p:txBody>
      </p:sp>
      <p:pic>
        <p:nvPicPr>
          <p:cNvPr id="2050" name="Picture 2" descr="Bruk av funksjonalitet i Canvas&#10;Søylediagram som viser hvor mye de ulike funksjonalitetene i Canvas brukes. Mer info i teksten under.">
            <a:extLst>
              <a:ext uri="{FF2B5EF4-FFF2-40B4-BE49-F238E27FC236}">
                <a16:creationId xmlns:a16="http://schemas.microsoft.com/office/drawing/2014/main" id="{C0A04D56-C5BF-4129-A5A7-7A2D82DD0ED9}"/>
              </a:ext>
            </a:extLst>
          </p:cNvPr>
          <p:cNvPicPr>
            <a:picLocks noGrp="1" noChangeAspect="1" noChangeArrowheads="1"/>
          </p:cNvPicPr>
          <p:nvPr>
            <p:ph sz="half" idx="3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91057" y="1010122"/>
            <a:ext cx="6473263" cy="509154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6384565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redjepartsverktøy</a:t>
            </a:r>
            <a:r>
              <a:rPr lang="en-US" dirty="0"/>
              <a:t> for Canvas</a:t>
            </a:r>
            <a:br>
              <a:rPr lang="en-US" dirty="0"/>
            </a:b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8"/>
          </p:nvPr>
        </p:nvSpPr>
        <p:spPr>
          <a:xfrm>
            <a:off x="360044" y="1403130"/>
            <a:ext cx="5804273" cy="4496907"/>
          </a:xfrm>
          <a:solidFill>
            <a:srgbClr val="FFFFFF"/>
          </a:solidFill>
        </p:spPr>
        <p:txBody>
          <a:bodyPr/>
          <a:lstStyle/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800" dirty="0"/>
              <a:t>Mange </a:t>
            </a:r>
            <a:r>
              <a:rPr lang="en-US" sz="2800" dirty="0" err="1"/>
              <a:t>tilgjengelige</a:t>
            </a:r>
            <a:r>
              <a:rPr lang="en-US" sz="2800" dirty="0"/>
              <a:t> </a:t>
            </a:r>
            <a:r>
              <a:rPr lang="en-US" sz="2800" dirty="0" err="1"/>
              <a:t>tredjepartsverktøy</a:t>
            </a:r>
            <a:r>
              <a:rPr lang="en-US" sz="2800" dirty="0"/>
              <a:t> for Canvas. </a:t>
            </a: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800" dirty="0" err="1"/>
              <a:t>Tredjepartsverktøy</a:t>
            </a:r>
            <a:r>
              <a:rPr lang="en-US" sz="2800" dirty="0"/>
              <a:t> </a:t>
            </a:r>
            <a:r>
              <a:rPr lang="en-US" sz="2800" dirty="0" err="1"/>
              <a:t>ofte</a:t>
            </a:r>
            <a:r>
              <a:rPr lang="en-US" sz="2800" dirty="0"/>
              <a:t> </a:t>
            </a:r>
            <a:r>
              <a:rPr lang="en-US" sz="2800" dirty="0" err="1"/>
              <a:t>kalles</a:t>
            </a:r>
            <a:r>
              <a:rPr lang="en-US" sz="2800" dirty="0"/>
              <a:t> for </a:t>
            </a:r>
            <a:r>
              <a:rPr lang="en-US" sz="2800" u="sng" dirty="0">
                <a:hlinkClick r:id="rId2"/>
              </a:rPr>
              <a:t>LTI</a:t>
            </a:r>
            <a:r>
              <a:rPr lang="en-US" sz="2800" dirty="0"/>
              <a:t> </a:t>
            </a:r>
            <a:r>
              <a:rPr lang="en-US" sz="2800" dirty="0" err="1"/>
              <a:t>eller</a:t>
            </a:r>
            <a:r>
              <a:rPr lang="en-US" sz="2800" dirty="0"/>
              <a:t> plugins.</a:t>
            </a:r>
            <a:endParaRPr lang="en-US" sz="2800" dirty="0">
              <a:hlinkClick r:id="rId3"/>
            </a:endParaRP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nb-NO" sz="2800" dirty="0">
              <a:hlinkClick r:id="rId3"/>
            </a:endParaRPr>
          </a:p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800" dirty="0" err="1">
                <a:hlinkClick r:id="rId3"/>
              </a:rPr>
              <a:t>Tredjepartsverktøy</a:t>
            </a:r>
            <a:r>
              <a:rPr lang="en-US" sz="2800" dirty="0">
                <a:hlinkClick r:id="rId3"/>
              </a:rPr>
              <a:t> (LTI/plugins) for Canvas - For </a:t>
            </a:r>
            <a:r>
              <a:rPr lang="en-US" sz="2800" dirty="0" err="1">
                <a:hlinkClick r:id="rId3"/>
              </a:rPr>
              <a:t>ansatte</a:t>
            </a:r>
            <a:r>
              <a:rPr lang="en-US" sz="2800" dirty="0">
                <a:hlinkClick r:id="rId3"/>
              </a:rPr>
              <a:t> - </a:t>
            </a:r>
            <a:r>
              <a:rPr lang="en-US" sz="2800" dirty="0" err="1">
                <a:hlinkClick r:id="rId3"/>
              </a:rPr>
              <a:t>Universitetet</a:t>
            </a:r>
            <a:r>
              <a:rPr lang="en-US" sz="2800" dirty="0">
                <a:hlinkClick r:id="rId3"/>
              </a:rPr>
              <a:t> </a:t>
            </a:r>
            <a:r>
              <a:rPr lang="en-US" sz="2800" dirty="0" err="1">
                <a:hlinkClick r:id="rId3"/>
              </a:rPr>
              <a:t>i</a:t>
            </a:r>
            <a:r>
              <a:rPr lang="en-US" sz="2800" dirty="0">
                <a:hlinkClick r:id="rId3"/>
              </a:rPr>
              <a:t> Oslo (uio.no)</a:t>
            </a:r>
            <a:endParaRPr lang="nb-NO" sz="2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803" y="-1937"/>
            <a:ext cx="6446372" cy="6859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6853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6A4D7C-9E16-41CC-AA62-1CCA0A0445E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99FEB4-8AE9-4919-BCA2-55A7005F2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re anskaffelser i regi av SIK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E99731-490D-42C3-8B89-E3683A2110E2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5615087" cy="430110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sz="2800" dirty="0"/>
              <a:t>Læringsplattform</a:t>
            </a:r>
          </a:p>
          <a:p>
            <a:pPr>
              <a:lnSpc>
                <a:spcPct val="150000"/>
              </a:lnSpc>
            </a:pPr>
            <a:r>
              <a:rPr lang="nb-NO" sz="2800" dirty="0"/>
              <a:t>Digital eksamen</a:t>
            </a:r>
          </a:p>
          <a:p>
            <a:pPr>
              <a:lnSpc>
                <a:spcPct val="150000"/>
              </a:lnSpc>
            </a:pPr>
            <a:r>
              <a:rPr lang="nb-NO" sz="2800" dirty="0"/>
              <a:t>Plagiatkontroll</a:t>
            </a:r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470371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FD9414-5988-4977-80EE-FDF427F504D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0DA350-A893-4506-849B-EC39D5731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dsplan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508E14B-8DF0-40A5-A11F-C80BDC707279}"/>
              </a:ext>
            </a:extLst>
          </p:cNvPr>
          <p:cNvPicPr>
            <a:picLocks noGrp="1" noChangeAspect="1" noChangeArrowheads="1"/>
          </p:cNvPicPr>
          <p:nvPr>
            <p:ph sz="half" idx="3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01" y="1518913"/>
            <a:ext cx="11679265" cy="426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5458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946426-BF76-4252-80A8-E39C6A9B6472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341C96-AFBB-4F18-9FCD-C8261F2E2E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7045772" cy="542658"/>
          </a:xfrm>
        </p:spPr>
        <p:txBody>
          <a:bodyPr/>
          <a:lstStyle/>
          <a:p>
            <a:r>
              <a:rPr lang="nb-NO" dirty="0"/>
              <a:t>Anbefalingen fra DLM203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AAE4F9B-4EC6-477E-BFB8-01075F1B1858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021492"/>
            <a:ext cx="5489213" cy="5037109"/>
          </a:xfrm>
        </p:spPr>
        <p:txBody>
          <a:bodyPr/>
          <a:lstStyle/>
          <a:p>
            <a:pPr>
              <a:lnSpc>
                <a:spcPct val="150000"/>
              </a:lnSpc>
            </a:pPr>
            <a:endParaRPr lang="nb-NO" sz="2800" dirty="0"/>
          </a:p>
          <a:p>
            <a:pPr>
              <a:lnSpc>
                <a:spcPct val="150000"/>
              </a:lnSpc>
            </a:pPr>
            <a:r>
              <a:rPr lang="nb-NO" sz="2800" dirty="0"/>
              <a:t>UiO bør være med på anbudet</a:t>
            </a:r>
          </a:p>
          <a:p>
            <a:pPr>
              <a:lnSpc>
                <a:spcPct val="150000"/>
              </a:lnSpc>
            </a:pPr>
            <a:r>
              <a:rPr lang="nb-NO" sz="2800" dirty="0"/>
              <a:t>Samtidig bør vi begynne å rigge oss for et slankt LMS</a:t>
            </a:r>
          </a:p>
        </p:txBody>
      </p:sp>
      <p:pic>
        <p:nvPicPr>
          <p:cNvPr id="14" name="Content Placeholder 13" descr="A group of people walking in a park&#10;&#10;Description automatically generated">
            <a:extLst>
              <a:ext uri="{FF2B5EF4-FFF2-40B4-BE49-F238E27FC236}">
                <a16:creationId xmlns:a16="http://schemas.microsoft.com/office/drawing/2014/main" id="{BF48BB5D-B2FD-409A-93DA-0017D64DC0A6}"/>
              </a:ext>
            </a:extLst>
          </p:cNvPr>
          <p:cNvPicPr>
            <a:picLocks noGrp="1" noChangeAspect="1"/>
          </p:cNvPicPr>
          <p:nvPr>
            <p:ph sz="half" idx="3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981" y="445924"/>
            <a:ext cx="4175303" cy="5905403"/>
          </a:xfrm>
        </p:spPr>
      </p:pic>
    </p:spTree>
    <p:extLst>
      <p:ext uri="{BB962C8B-B14F-4D97-AF65-F5344CB8AC3E}">
        <p14:creationId xmlns:p14="http://schemas.microsoft.com/office/powerpoint/2010/main" val="32495997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D83372-871F-4FAB-ADDD-CD0FAF56C47E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2C1ECB7-C9D8-4AC6-B9F0-BBEC00901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4415156" cy="542658"/>
          </a:xfrm>
        </p:spPr>
        <p:txBody>
          <a:bodyPr/>
          <a:lstStyle/>
          <a:p>
            <a:r>
              <a:rPr lang="nb-NO" dirty="0"/>
              <a:t>Fordeler med Canvas		 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F13746-1ECD-49DB-A101-A6DA890231D5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157948"/>
            <a:ext cx="5489213" cy="490065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dirty="0"/>
              <a:t>Pålitelig i drift</a:t>
            </a:r>
          </a:p>
          <a:p>
            <a:pPr>
              <a:lnSpc>
                <a:spcPct val="150000"/>
              </a:lnSpc>
            </a:pPr>
            <a:r>
              <a:rPr lang="nb-NO" dirty="0"/>
              <a:t>Muligheter for lokale tilpasninger og egne integrasjoner</a:t>
            </a:r>
          </a:p>
          <a:p>
            <a:pPr>
              <a:lnSpc>
                <a:spcPct val="150000"/>
              </a:lnSpc>
            </a:pPr>
            <a:r>
              <a:rPr lang="nb-NO" dirty="0"/>
              <a:t>Basisfunksjonalitet som dekker de fleste underviseres behov</a:t>
            </a:r>
          </a:p>
          <a:p>
            <a:pPr>
              <a:lnSpc>
                <a:spcPct val="150000"/>
              </a:lnSpc>
            </a:pPr>
            <a:r>
              <a:rPr lang="nb-NO" dirty="0"/>
              <a:t>Mange muligheter (men kvaliteten varierer)</a:t>
            </a:r>
          </a:p>
          <a:p>
            <a:pPr>
              <a:lnSpc>
                <a:spcPct val="150000"/>
              </a:lnSpc>
            </a:pPr>
            <a:r>
              <a:rPr lang="nb-NO" dirty="0"/>
              <a:t>Sektorsamarbeid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1FFD977-E6B1-4684-B4F8-D738AFE4741E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2" y="1112177"/>
            <a:ext cx="5489213" cy="490065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dirty="0"/>
              <a:t>Lite innflytelse på utvikling</a:t>
            </a:r>
          </a:p>
          <a:p>
            <a:pPr>
              <a:lnSpc>
                <a:spcPct val="150000"/>
              </a:lnSpc>
            </a:pPr>
            <a:r>
              <a:rPr lang="nb-NO" dirty="0"/>
              <a:t>Upålitelig utvikling</a:t>
            </a:r>
          </a:p>
          <a:p>
            <a:pPr>
              <a:lnSpc>
                <a:spcPct val="150000"/>
              </a:lnSpc>
            </a:pPr>
            <a:r>
              <a:rPr lang="nb-NO" dirty="0"/>
              <a:t>Har hatt utfordringer med kontroll på egne datastrømmer (</a:t>
            </a:r>
            <a:r>
              <a:rPr lang="nb-NO" dirty="0" err="1"/>
              <a:t>Schrems</a:t>
            </a:r>
            <a:r>
              <a:rPr lang="nb-NO" dirty="0"/>
              <a:t> II)</a:t>
            </a:r>
          </a:p>
          <a:p>
            <a:pPr marL="0" indent="0">
              <a:buNone/>
            </a:pPr>
            <a:endParaRPr lang="nb-NO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0487C7C3-CEA9-48C6-B883-40B0BBAF11E2}"/>
              </a:ext>
            </a:extLst>
          </p:cNvPr>
          <p:cNvSpPr txBox="1">
            <a:spLocks/>
          </p:cNvSpPr>
          <p:nvPr/>
        </p:nvSpPr>
        <p:spPr>
          <a:xfrm>
            <a:off x="6342741" y="360045"/>
            <a:ext cx="5351419" cy="5426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tfordringer med Canvas		   </a:t>
            </a:r>
          </a:p>
        </p:txBody>
      </p:sp>
    </p:spTree>
    <p:extLst>
      <p:ext uri="{BB962C8B-B14F-4D97-AF65-F5344CB8AC3E}">
        <p14:creationId xmlns:p14="http://schemas.microsoft.com/office/powerpoint/2010/main" val="12554420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8"/>
          </p:nvPr>
        </p:nvSpPr>
        <p:spPr>
          <a:solidFill>
            <a:srgbClr val="FFFFFF"/>
          </a:solidFill>
        </p:spPr>
        <p:txBody>
          <a:bodyPr/>
          <a:lstStyle/>
          <a:p>
            <a:pPr marL="342900" indent="-342900"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nb-NO" sz="3200" dirty="0"/>
          </a:p>
        </p:txBody>
      </p:sp>
    </p:spTree>
    <p:extLst>
      <p:ext uri="{BB962C8B-B14F-4D97-AF65-F5344CB8AC3E}">
        <p14:creationId xmlns:p14="http://schemas.microsoft.com/office/powerpoint/2010/main" val="3049274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igitalt læringsmiljø 2030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360044" y="1035425"/>
            <a:ext cx="5489214" cy="5023178"/>
          </a:xfrm>
        </p:spPr>
        <p:txBody>
          <a:bodyPr/>
          <a:lstStyle/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>
              <a:hlinkClick r:id="rId2"/>
            </a:endParaRPr>
          </a:p>
          <a:p>
            <a:r>
              <a:rPr lang="nb-NO" dirty="0">
                <a:hlinkClick r:id="rId2"/>
              </a:rPr>
              <a:t>Rapport DLM2030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3" b="443"/>
          <a:stretch>
            <a:fillRect/>
          </a:stretch>
        </p:blipFill>
        <p:spPr>
          <a:xfrm>
            <a:off x="6952128" y="360045"/>
            <a:ext cx="4879825" cy="6258511"/>
          </a:xfrm>
        </p:spPr>
      </p:pic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882" y="1193431"/>
            <a:ext cx="3047800" cy="431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1859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9BE1BC0-9FA3-1143-0EA6-5FE3AAF6A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32" y="2503593"/>
            <a:ext cx="4569211" cy="1325563"/>
          </a:xfrm>
        </p:spPr>
        <p:txBody>
          <a:bodyPr/>
          <a:lstStyle/>
          <a:p>
            <a:r>
              <a:rPr lang="nb-NO" dirty="0"/>
              <a:t>Mine Studi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6ED983E-1E4A-77D8-16C5-A68F0E44D4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C2B260-336C-2594-337B-CC21EFEA33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893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F049A792-EBEC-4590-88E2-DD2FB1ED9BE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65" b="10265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62FC74D-23F7-40B4-B14C-2953E3796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2263" y="5053781"/>
            <a:ext cx="9101046" cy="1691148"/>
          </a:xfrm>
          <a:noFill/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3600">
                <a:cs typeface="Calibri Light"/>
              </a:rPr>
              <a:t>Når du er UiO-student kan </a:t>
            </a:r>
            <a:br>
              <a:rPr lang="en-US" sz="3600">
                <a:cs typeface="Calibri Light"/>
              </a:rPr>
            </a:br>
            <a:r>
              <a:rPr lang="en-US" sz="3600">
                <a:cs typeface="Calibri Light"/>
              </a:rPr>
              <a:t>kommunikasjonen med UiO se slik ut:</a:t>
            </a:r>
            <a:br>
              <a:rPr lang="en-US" sz="3600">
                <a:cs typeface="Calibri Light"/>
              </a:rPr>
            </a:br>
            <a:endParaRPr lang="en-US" sz="3600">
              <a:cs typeface="Calibri Light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F2B698-B283-4900-B046-D6CF0A5F047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70228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1981200" y="1600201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36" name="Straight Connector 135"/>
          <p:cNvCxnSpPr/>
          <p:nvPr/>
        </p:nvCxnSpPr>
        <p:spPr>
          <a:xfrm flipH="1">
            <a:off x="7632404" y="3589786"/>
            <a:ext cx="911868" cy="1957775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>
            <a:off x="8567912" y="3501009"/>
            <a:ext cx="912465" cy="174268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>
            <a:stCxn id="16" idx="0"/>
          </p:cNvCxnSpPr>
          <p:nvPr/>
        </p:nvCxnSpPr>
        <p:spPr>
          <a:xfrm flipV="1">
            <a:off x="3902189" y="3645024"/>
            <a:ext cx="4299631" cy="25064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>
            <a:off x="4736830" y="1701716"/>
            <a:ext cx="2268290" cy="1943308"/>
          </a:xfrm>
          <a:prstGeom prst="line">
            <a:avLst/>
          </a:prstGeom>
          <a:ln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 flipH="1">
            <a:off x="3696155" y="1340370"/>
            <a:ext cx="1446856" cy="2592686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4504987" y="2163198"/>
            <a:ext cx="1450031" cy="1193795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4204" y="209892"/>
            <a:ext cx="10515600" cy="1325563"/>
          </a:xfrm>
        </p:spPr>
        <p:txBody>
          <a:bodyPr>
            <a:noAutofit/>
          </a:bodyPr>
          <a:lstStyle/>
          <a:p>
            <a:pPr algn="l"/>
            <a:r>
              <a:rPr lang="nb-NO" sz="2800"/>
              <a:t>Et mylder av verktøy og informasjonskanaler du må forholde deg til:</a:t>
            </a:r>
          </a:p>
        </p:txBody>
      </p:sp>
      <p:sp>
        <p:nvSpPr>
          <p:cNvPr id="6" name="Text Box 19"/>
          <p:cNvSpPr txBox="1">
            <a:spLocks noChangeArrowheads="1"/>
          </p:cNvSpPr>
          <p:nvPr/>
        </p:nvSpPr>
        <p:spPr bwMode="auto">
          <a:xfrm>
            <a:off x="2135561" y="1340370"/>
            <a:ext cx="931863" cy="342900"/>
          </a:xfrm>
          <a:prstGeom prst="rect">
            <a:avLst/>
          </a:prstGeom>
          <a:solidFill>
            <a:srgbClr val="FFFFFF"/>
          </a:solidFill>
          <a:ln w="25400">
            <a:solidFill>
              <a:srgbClr val="FF0000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 err="1">
                <a:latin typeface="Calibri" pitchFamily="34" charset="0"/>
                <a:ea typeface="SimSun" pitchFamily="2" charset="-122"/>
                <a:cs typeface="Times New Roman" pitchFamily="18" charset="0"/>
              </a:rPr>
              <a:t>Studentweb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Box 21"/>
          <p:cNvSpPr txBox="1">
            <a:spLocks noChangeArrowheads="1"/>
          </p:cNvSpPr>
          <p:nvPr/>
        </p:nvSpPr>
        <p:spPr bwMode="auto">
          <a:xfrm>
            <a:off x="9822317" y="3651129"/>
            <a:ext cx="522288" cy="342900"/>
          </a:xfrm>
          <a:prstGeom prst="rect">
            <a:avLst/>
          </a:prstGeom>
          <a:solidFill>
            <a:srgbClr val="FFFFFF"/>
          </a:solidFill>
          <a:ln w="25400">
            <a:solidFill>
              <a:srgbClr val="002060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Blogg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Box 23"/>
          <p:cNvSpPr txBox="1">
            <a:spLocks noChangeArrowheads="1"/>
          </p:cNvSpPr>
          <p:nvPr/>
        </p:nvSpPr>
        <p:spPr bwMode="auto">
          <a:xfrm>
            <a:off x="4833627" y="1349497"/>
            <a:ext cx="579438" cy="342900"/>
          </a:xfrm>
          <a:prstGeom prst="rect">
            <a:avLst/>
          </a:prstGeom>
          <a:solidFill>
            <a:srgbClr val="FFFFFF"/>
          </a:solidFill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uio.no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 Box 24"/>
          <p:cNvSpPr txBox="1">
            <a:spLocks noChangeArrowheads="1"/>
          </p:cNvSpPr>
          <p:nvPr/>
        </p:nvSpPr>
        <p:spPr bwMode="auto">
          <a:xfrm>
            <a:off x="5767960" y="2251578"/>
            <a:ext cx="646112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Canvas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Box 26"/>
          <p:cNvSpPr txBox="1">
            <a:spLocks noChangeArrowheads="1"/>
          </p:cNvSpPr>
          <p:nvPr/>
        </p:nvSpPr>
        <p:spPr bwMode="auto">
          <a:xfrm>
            <a:off x="7524751" y="4555346"/>
            <a:ext cx="769937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4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Facebook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 Box 28"/>
          <p:cNvSpPr txBox="1">
            <a:spLocks noChangeArrowheads="1"/>
          </p:cNvSpPr>
          <p:nvPr/>
        </p:nvSpPr>
        <p:spPr bwMode="auto">
          <a:xfrm>
            <a:off x="7162628" y="5547560"/>
            <a:ext cx="684212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plakater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 Box 29"/>
          <p:cNvSpPr txBox="1">
            <a:spLocks noChangeArrowheads="1"/>
          </p:cNvSpPr>
          <p:nvPr/>
        </p:nvSpPr>
        <p:spPr bwMode="auto">
          <a:xfrm>
            <a:off x="3421970" y="6151468"/>
            <a:ext cx="960437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tx2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infoskjermer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 Box 31"/>
          <p:cNvSpPr txBox="1">
            <a:spLocks noChangeArrowheads="1"/>
          </p:cNvSpPr>
          <p:nvPr/>
        </p:nvSpPr>
        <p:spPr bwMode="auto">
          <a:xfrm>
            <a:off x="8201819" y="5694673"/>
            <a:ext cx="779462" cy="342900"/>
          </a:xfrm>
          <a:prstGeom prst="rect">
            <a:avLst/>
          </a:prstGeom>
          <a:solidFill>
            <a:srgbClr val="FFFFFF"/>
          </a:solidFill>
          <a:ln w="25400">
            <a:solidFill>
              <a:srgbClr val="9BBB59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 err="1">
                <a:latin typeface="Calibri" pitchFamily="34" charset="0"/>
                <a:ea typeface="SimSun" pitchFamily="2" charset="-122"/>
                <a:cs typeface="Times New Roman" pitchFamily="18" charset="0"/>
              </a:rPr>
              <a:t>instagram</a:t>
            </a:r>
            <a:endParaRPr lang="nb-NO" altLang="nb-NO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 Box 32"/>
          <p:cNvSpPr txBox="1">
            <a:spLocks noChangeArrowheads="1"/>
          </p:cNvSpPr>
          <p:nvPr/>
        </p:nvSpPr>
        <p:spPr bwMode="auto">
          <a:xfrm>
            <a:off x="6786840" y="1358816"/>
            <a:ext cx="436563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3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 err="1">
                <a:latin typeface="Calibri" pitchFamily="34" charset="0"/>
                <a:ea typeface="SimSun" pitchFamily="2" charset="-122"/>
                <a:cs typeface="Times New Roman" pitchFamily="18" charset="0"/>
              </a:rPr>
              <a:t>sms</a:t>
            </a:r>
            <a:endParaRPr lang="nb-NO" altLang="nb-NO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 Box 33"/>
          <p:cNvSpPr txBox="1">
            <a:spLocks noChangeArrowheads="1"/>
          </p:cNvSpPr>
          <p:nvPr/>
        </p:nvSpPr>
        <p:spPr bwMode="auto">
          <a:xfrm>
            <a:off x="7499976" y="1701716"/>
            <a:ext cx="588962" cy="342900"/>
          </a:xfrm>
          <a:prstGeom prst="rect">
            <a:avLst/>
          </a:prstGeom>
          <a:solidFill>
            <a:srgbClr val="FFFFFF"/>
          </a:solidFill>
          <a:ln w="25400">
            <a:solidFill>
              <a:srgbClr val="92D050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e-post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 Box 34"/>
          <p:cNvSpPr txBox="1">
            <a:spLocks noChangeArrowheads="1"/>
          </p:cNvSpPr>
          <p:nvPr/>
        </p:nvSpPr>
        <p:spPr bwMode="auto">
          <a:xfrm>
            <a:off x="8724292" y="4466966"/>
            <a:ext cx="1224136" cy="325749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 err="1">
                <a:latin typeface="Calibri" pitchFamily="34" charset="0"/>
                <a:ea typeface="SimSun" pitchFamily="2" charset="-122"/>
                <a:cs typeface="Times New Roman" pitchFamily="18" charset="0"/>
              </a:rPr>
              <a:t>Handouts</a:t>
            </a: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 / flyers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 Box 19"/>
          <p:cNvSpPr txBox="1">
            <a:spLocks noChangeArrowheads="1"/>
          </p:cNvSpPr>
          <p:nvPr/>
        </p:nvSpPr>
        <p:spPr bwMode="auto">
          <a:xfrm>
            <a:off x="2416051" y="5694673"/>
            <a:ext cx="759769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cs typeface="Arial" pitchFamily="34" charset="0"/>
              </a:rPr>
              <a:t>infosenter</a:t>
            </a:r>
          </a:p>
        </p:txBody>
      </p:sp>
      <p:sp>
        <p:nvSpPr>
          <p:cNvPr id="25" name="Text Box 19"/>
          <p:cNvSpPr txBox="1">
            <a:spLocks noChangeArrowheads="1"/>
          </p:cNvSpPr>
          <p:nvPr/>
        </p:nvSpPr>
        <p:spPr bwMode="auto">
          <a:xfrm>
            <a:off x="9105710" y="5204660"/>
            <a:ext cx="1226344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cs typeface="Arial" pitchFamily="34" charset="0"/>
              </a:rPr>
              <a:t>«Jungeltelegrafen»</a:t>
            </a:r>
            <a:endParaRPr lang="nb-NO" altLang="nb-NO" sz="1200">
              <a:cs typeface="Arial" pitchFamily="34" charset="0"/>
            </a:endParaRPr>
          </a:p>
        </p:txBody>
      </p:sp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2873650" y="1820297"/>
            <a:ext cx="1631337" cy="342900"/>
          </a:xfrm>
          <a:prstGeom prst="rect">
            <a:avLst/>
          </a:prstGeom>
          <a:solidFill>
            <a:srgbClr val="FFFFFF"/>
          </a:solidFill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cs typeface="Arial" pitchFamily="34" charset="0"/>
              </a:rPr>
              <a:t>Semestersider (på uio.no)</a:t>
            </a:r>
          </a:p>
        </p:txBody>
      </p:sp>
      <p:sp>
        <p:nvSpPr>
          <p:cNvPr id="28" name="Text Box 19"/>
          <p:cNvSpPr txBox="1">
            <a:spLocks noChangeArrowheads="1"/>
          </p:cNvSpPr>
          <p:nvPr/>
        </p:nvSpPr>
        <p:spPr bwMode="auto">
          <a:xfrm>
            <a:off x="5520526" y="4726796"/>
            <a:ext cx="883322" cy="342900"/>
          </a:xfrm>
          <a:prstGeom prst="rect">
            <a:avLst/>
          </a:prstGeom>
          <a:solidFill>
            <a:srgbClr val="FFFFFF"/>
          </a:solidFill>
          <a:ln w="25400">
            <a:solidFill>
              <a:srgbClr val="00B0F0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cs typeface="Arial" pitchFamily="34" charset="0"/>
              </a:rPr>
              <a:t>Face-to-face</a:t>
            </a:r>
          </a:p>
        </p:txBody>
      </p:sp>
      <p:sp>
        <p:nvSpPr>
          <p:cNvPr id="29" name="Text Box 19"/>
          <p:cNvSpPr txBox="1">
            <a:spLocks noChangeArrowheads="1"/>
          </p:cNvSpPr>
          <p:nvPr/>
        </p:nvSpPr>
        <p:spPr bwMode="auto">
          <a:xfrm>
            <a:off x="8807723" y="1365565"/>
            <a:ext cx="504056" cy="243856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2">
                <a:lumMod val="60000"/>
                <a:lumOff val="40000"/>
              </a:schemeClr>
            </a:solidFill>
            <a:prstDash val="sysDash"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cs typeface="Arial" pitchFamily="34" charset="0"/>
              </a:rPr>
              <a:t>sio.no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4257045" y="2642907"/>
            <a:ext cx="504675" cy="1002117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2416051" y="1701000"/>
            <a:ext cx="1005919" cy="22320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>
            <a:off x="2207568" y="1701001"/>
            <a:ext cx="144016" cy="2516651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3067424" y="1511820"/>
            <a:ext cx="6124921" cy="1053084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>
            <a:off x="2495601" y="2642907"/>
            <a:ext cx="1741987" cy="1574744"/>
          </a:xfrm>
          <a:prstGeom prst="line">
            <a:avLst/>
          </a:prstGeom>
          <a:ln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27" idx="1"/>
          </p:cNvCxnSpPr>
          <p:nvPr/>
        </p:nvCxnSpPr>
        <p:spPr>
          <a:xfrm flipH="1">
            <a:off x="2416051" y="1991747"/>
            <a:ext cx="457598" cy="2225904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2999656" y="2163198"/>
            <a:ext cx="666036" cy="1769859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3175820" y="2163198"/>
            <a:ext cx="1329167" cy="1481827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4504986" y="1991748"/>
            <a:ext cx="4687358" cy="636471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stCxn id="10" idx="2"/>
          </p:cNvCxnSpPr>
          <p:nvPr/>
        </p:nvCxnSpPr>
        <p:spPr>
          <a:xfrm>
            <a:off x="9976638" y="2707597"/>
            <a:ext cx="812007" cy="1998892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10" idx="2"/>
          </p:cNvCxnSpPr>
          <p:nvPr/>
        </p:nvCxnSpPr>
        <p:spPr>
          <a:xfrm>
            <a:off x="9976637" y="2707597"/>
            <a:ext cx="0" cy="2286924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22"/>
          <p:cNvSpPr txBox="1">
            <a:spLocks noChangeArrowheads="1"/>
          </p:cNvSpPr>
          <p:nvPr/>
        </p:nvSpPr>
        <p:spPr bwMode="auto">
          <a:xfrm>
            <a:off x="3696156" y="2300007"/>
            <a:ext cx="1617663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>
                <a:latin typeface="Calibri" pitchFamily="34" charset="0"/>
                <a:ea typeface="SimSun" pitchFamily="2" charset="-122"/>
                <a:cs typeface="Times New Roman" pitchFamily="18" charset="0"/>
              </a:rPr>
              <a:t>Mine studier (på uio.no)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2" name="Straight Connector 71"/>
          <p:cNvCxnSpPr>
            <a:stCxn id="10" idx="3"/>
          </p:cNvCxnSpPr>
          <p:nvPr/>
        </p:nvCxnSpPr>
        <p:spPr>
          <a:xfrm>
            <a:off x="10266356" y="2536147"/>
            <a:ext cx="2769090" cy="1630378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>
            <a:stCxn id="11" idx="2"/>
          </p:cNvCxnSpPr>
          <p:nvPr/>
        </p:nvCxnSpPr>
        <p:spPr>
          <a:xfrm>
            <a:off x="6091016" y="2594478"/>
            <a:ext cx="0" cy="728774"/>
          </a:xfrm>
          <a:prstGeom prst="line">
            <a:avLst/>
          </a:prstGeom>
          <a:ln w="762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flipH="1">
            <a:off x="5143011" y="2628218"/>
            <a:ext cx="812007" cy="1016806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H="1">
            <a:off x="3665692" y="2628218"/>
            <a:ext cx="2142276" cy="1304838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11" idx="1"/>
          </p:cNvCxnSpPr>
          <p:nvPr/>
        </p:nvCxnSpPr>
        <p:spPr>
          <a:xfrm flipH="1">
            <a:off x="2505824" y="2423029"/>
            <a:ext cx="3262136" cy="1760883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6312024" y="2628219"/>
            <a:ext cx="864096" cy="476481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6403848" y="2456768"/>
            <a:ext cx="2788496" cy="303326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7909720" y="2044616"/>
            <a:ext cx="681831" cy="772412"/>
          </a:xfrm>
          <a:prstGeom prst="line">
            <a:avLst/>
          </a:prstGeom>
          <a:ln w="95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8088939" y="1873166"/>
            <a:ext cx="1184111" cy="628396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stCxn id="20" idx="2"/>
          </p:cNvCxnSpPr>
          <p:nvPr/>
        </p:nvCxnSpPr>
        <p:spPr>
          <a:xfrm flipH="1">
            <a:off x="7320137" y="2044617"/>
            <a:ext cx="474321" cy="1092005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>
            <a:stCxn id="19" idx="2"/>
          </p:cNvCxnSpPr>
          <p:nvPr/>
        </p:nvCxnSpPr>
        <p:spPr>
          <a:xfrm>
            <a:off x="7005122" y="1701717"/>
            <a:ext cx="315015" cy="1434905"/>
          </a:xfrm>
          <a:prstGeom prst="line">
            <a:avLst/>
          </a:prstGeom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 flipV="1">
            <a:off x="2351584" y="4886301"/>
            <a:ext cx="444350" cy="808373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 flipV="1">
            <a:off x="2795934" y="4792715"/>
            <a:ext cx="419746" cy="901959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/>
        </p:nvCxnSpPr>
        <p:spPr>
          <a:xfrm flipH="1">
            <a:off x="8591550" y="1412776"/>
            <a:ext cx="492782" cy="1404252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>
            <a:stCxn id="16" idx="0"/>
          </p:cNvCxnSpPr>
          <p:nvPr/>
        </p:nvCxnSpPr>
        <p:spPr>
          <a:xfrm flipH="1" flipV="1">
            <a:off x="3665692" y="5085184"/>
            <a:ext cx="236496" cy="10662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stCxn id="8" idx="1"/>
          </p:cNvCxnSpPr>
          <p:nvPr/>
        </p:nvCxnSpPr>
        <p:spPr>
          <a:xfrm flipH="1" flipV="1">
            <a:off x="8981281" y="3356993"/>
            <a:ext cx="841036" cy="465587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stCxn id="28" idx="0"/>
          </p:cNvCxnSpPr>
          <p:nvPr/>
        </p:nvCxnSpPr>
        <p:spPr>
          <a:xfrm flipV="1">
            <a:off x="5962187" y="3933056"/>
            <a:ext cx="824652" cy="79374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6403848" y="3589786"/>
            <a:ext cx="1846786" cy="1296515"/>
          </a:xfrm>
          <a:prstGeom prst="lin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13819" y="4109812"/>
            <a:ext cx="648369" cy="616984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>
            <a:endCxn id="28" idx="1"/>
          </p:cNvCxnSpPr>
          <p:nvPr/>
        </p:nvCxnSpPr>
        <p:spPr>
          <a:xfrm>
            <a:off x="4237588" y="4642230"/>
            <a:ext cx="1282939" cy="256017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>
            <a:endCxn id="13" idx="0"/>
          </p:cNvCxnSpPr>
          <p:nvPr/>
        </p:nvCxnSpPr>
        <p:spPr>
          <a:xfrm flipH="1">
            <a:off x="7909720" y="3501008"/>
            <a:ext cx="490537" cy="1054338"/>
          </a:xfrm>
          <a:prstGeom prst="line">
            <a:avLst/>
          </a:prstGeom>
          <a:ln w="571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>
            <a:endCxn id="13" idx="0"/>
          </p:cNvCxnSpPr>
          <p:nvPr/>
        </p:nvCxnSpPr>
        <p:spPr>
          <a:xfrm>
            <a:off x="7680177" y="3822580"/>
            <a:ext cx="229543" cy="732767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6454678" y="3933056"/>
            <a:ext cx="1455040" cy="622290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>
            <a:endCxn id="21" idx="0"/>
          </p:cNvCxnSpPr>
          <p:nvPr/>
        </p:nvCxnSpPr>
        <p:spPr>
          <a:xfrm>
            <a:off x="8832304" y="3430279"/>
            <a:ext cx="504056" cy="1036686"/>
          </a:xfrm>
          <a:prstGeom prst="line">
            <a:avLst/>
          </a:prstGeom>
          <a:ln w="2857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/>
        </p:nvCxnSpPr>
        <p:spPr>
          <a:xfrm>
            <a:off x="6454679" y="3933057"/>
            <a:ext cx="2383263" cy="533909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 Box 31"/>
          <p:cNvSpPr txBox="1">
            <a:spLocks noChangeArrowheads="1"/>
          </p:cNvSpPr>
          <p:nvPr/>
        </p:nvSpPr>
        <p:spPr bwMode="auto">
          <a:xfrm>
            <a:off x="6427543" y="5033459"/>
            <a:ext cx="779462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5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 err="1">
                <a:latin typeface="Calibri" pitchFamily="34" charset="0"/>
                <a:ea typeface="SimSun" pitchFamily="2" charset="-122"/>
                <a:cs typeface="Times New Roman" pitchFamily="18" charset="0"/>
              </a:rPr>
              <a:t>snapchat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0" name="Straight Connector 129"/>
          <p:cNvCxnSpPr>
            <a:endCxn id="128" idx="0"/>
          </p:cNvCxnSpPr>
          <p:nvPr/>
        </p:nvCxnSpPr>
        <p:spPr>
          <a:xfrm flipH="1">
            <a:off x="6817274" y="4109813"/>
            <a:ext cx="345354" cy="9236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>
          <a:xfrm>
            <a:off x="8544272" y="3589785"/>
            <a:ext cx="47278" cy="2104888"/>
          </a:xfrm>
          <a:prstGeom prst="line">
            <a:avLst/>
          </a:prstGeom>
          <a:ln w="127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2609010" y="4720778"/>
            <a:ext cx="4553618" cy="998233"/>
          </a:xfrm>
          <a:prstGeom prst="line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Oval 143"/>
          <p:cNvSpPr/>
          <p:nvPr/>
        </p:nvSpPr>
        <p:spPr>
          <a:xfrm>
            <a:off x="6848666" y="3709618"/>
            <a:ext cx="883267" cy="250704"/>
          </a:xfrm>
          <a:prstGeom prst="ellipse">
            <a:avLst/>
          </a:prstGeom>
          <a:noFill/>
          <a:ln w="6350">
            <a:solidFill>
              <a:srgbClr val="7030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9" name="TextBox 148"/>
          <p:cNvSpPr txBox="1"/>
          <p:nvPr/>
        </p:nvSpPr>
        <p:spPr>
          <a:xfrm>
            <a:off x="4875955" y="6322919"/>
            <a:ext cx="5416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i="1"/>
              <a:t>- fra intervjuer med 19 studenter fra SV, HF, UV og MN</a:t>
            </a:r>
          </a:p>
        </p:txBody>
      </p:sp>
      <p:sp>
        <p:nvSpPr>
          <p:cNvPr id="69" name="Text Box 21"/>
          <p:cNvSpPr txBox="1">
            <a:spLocks noChangeArrowheads="1"/>
          </p:cNvSpPr>
          <p:nvPr/>
        </p:nvSpPr>
        <p:spPr bwMode="auto">
          <a:xfrm>
            <a:off x="9728865" y="1625553"/>
            <a:ext cx="563832" cy="332903"/>
          </a:xfrm>
          <a:prstGeom prst="rect">
            <a:avLst/>
          </a:prstGeom>
          <a:solidFill>
            <a:srgbClr val="FFFFFF"/>
          </a:solidFill>
          <a:ln w="25400">
            <a:solidFill>
              <a:srgbClr val="002060"/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 err="1">
                <a:latin typeface="Calibri" pitchFamily="34" charset="0"/>
                <a:ea typeface="SimSun" pitchFamily="2" charset="-122"/>
                <a:cs typeface="Times New Roman" pitchFamily="18" charset="0"/>
              </a:rPr>
              <a:t>Inspera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 flipV="1">
            <a:off x="9906205" y="2001839"/>
            <a:ext cx="33752" cy="52597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Box 24"/>
          <p:cNvSpPr txBox="1">
            <a:spLocks noChangeArrowheads="1"/>
          </p:cNvSpPr>
          <p:nvPr/>
        </p:nvSpPr>
        <p:spPr bwMode="auto">
          <a:xfrm>
            <a:off x="5835469" y="1376173"/>
            <a:ext cx="646112" cy="342900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 sz="1100" err="1">
                <a:latin typeface="Calibri" pitchFamily="34" charset="0"/>
                <a:ea typeface="SimSun" pitchFamily="2" charset="-122"/>
                <a:cs typeface="Times New Roman" pitchFamily="18" charset="0"/>
              </a:rPr>
              <a:t>Leganto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8" name="Straight Connector 77"/>
          <p:cNvCxnSpPr/>
          <p:nvPr/>
        </p:nvCxnSpPr>
        <p:spPr>
          <a:xfrm flipH="1">
            <a:off x="6239141" y="1698410"/>
            <a:ext cx="115893" cy="1623391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9588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0044" y="836300"/>
            <a:ext cx="5489214" cy="54265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4117827" cy="430110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95"/>
          <a:stretch/>
        </p:blipFill>
        <p:spPr>
          <a:xfrm>
            <a:off x="943080" y="-324285"/>
            <a:ext cx="9812356" cy="760986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173267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402862" y="2530761"/>
            <a:ext cx="8840927" cy="923330"/>
          </a:xfrm>
          <a:prstGeom prst="rect">
            <a:avLst/>
          </a:prstGeom>
          <a:noFill/>
          <a:ln w="76200">
            <a:solidFill>
              <a:srgbClr val="C00000"/>
            </a:solidFill>
          </a:ln>
          <a:effectLst>
            <a:softEdge rad="266700"/>
          </a:effectLst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b-NO" sz="5400"/>
              <a:t>Mine studier</a:t>
            </a:r>
            <a:endParaRPr lang="nb-NO" sz="5400">
              <a:solidFill>
                <a:srgbClr val="FF0000"/>
              </a:solidFill>
              <a:cs typeface="Arial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4878457" y="2040171"/>
            <a:ext cx="6158" cy="354341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  <a:stCxn id="7" idx="2"/>
          </p:cNvCxnSpPr>
          <p:nvPr/>
        </p:nvCxnSpPr>
        <p:spPr>
          <a:xfrm flipH="1">
            <a:off x="9299465" y="1635353"/>
            <a:ext cx="47447" cy="682348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7132354" y="1767982"/>
            <a:ext cx="35625" cy="659039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</p:cNvCxnSpPr>
          <p:nvPr/>
        </p:nvCxnSpPr>
        <p:spPr>
          <a:xfrm flipH="1" flipV="1">
            <a:off x="2265284" y="1589864"/>
            <a:ext cx="244000" cy="784652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2865594" y="3887855"/>
            <a:ext cx="311332" cy="1068504"/>
          </a:xfrm>
          <a:prstGeom prst="line">
            <a:avLst/>
          </a:prstGeom>
          <a:ln w="34925">
            <a:solidFill>
              <a:schemeClr val="bg1">
                <a:lumMod val="65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7401591" y="4055069"/>
            <a:ext cx="158242" cy="135279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>
            <a:off x="4484561" y="4129115"/>
            <a:ext cx="311332" cy="1399259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cxnSpLocks/>
          </p:cNvCxnSpPr>
          <p:nvPr/>
        </p:nvCxnSpPr>
        <p:spPr>
          <a:xfrm flipH="1" flipV="1">
            <a:off x="6082044" y="4123556"/>
            <a:ext cx="15045" cy="1291854"/>
          </a:xfrm>
          <a:prstGeom prst="line">
            <a:avLst/>
          </a:prstGeom>
          <a:ln w="28575">
            <a:solidFill>
              <a:schemeClr val="bg2">
                <a:lumMod val="75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Box 24"/>
          <p:cNvSpPr txBox="1">
            <a:spLocks noChangeArrowheads="1"/>
          </p:cNvSpPr>
          <p:nvPr/>
        </p:nvSpPr>
        <p:spPr bwMode="auto">
          <a:xfrm>
            <a:off x="474225" y="4946050"/>
            <a:ext cx="1118088" cy="476132"/>
          </a:xfrm>
          <a:prstGeom prst="rect">
            <a:avLst/>
          </a:prstGeom>
          <a:solidFill>
            <a:srgbClr val="FFFFFF"/>
          </a:solidFill>
          <a:ln w="25400">
            <a:solidFill>
              <a:schemeClr val="accent1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nb-NO" altLang="nb-NO">
                <a:latin typeface="Calibri" pitchFamily="34" charset="0"/>
                <a:ea typeface="SimSun" pitchFamily="2" charset="-122"/>
                <a:cs typeface="Times New Roman" pitchFamily="18" charset="0"/>
              </a:rPr>
              <a:t>Bibliotek</a:t>
            </a:r>
            <a:endParaRPr lang="nb-NO" altLang="nb-NO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3" name="Straight Connector 52"/>
          <p:cNvCxnSpPr>
            <a:cxnSpLocks/>
          </p:cNvCxnSpPr>
          <p:nvPr/>
        </p:nvCxnSpPr>
        <p:spPr>
          <a:xfrm>
            <a:off x="8551264" y="3908044"/>
            <a:ext cx="423765" cy="1300626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cxnSpLocks/>
          </p:cNvCxnSpPr>
          <p:nvPr/>
        </p:nvCxnSpPr>
        <p:spPr>
          <a:xfrm flipH="1">
            <a:off x="1955225" y="3887855"/>
            <a:ext cx="654152" cy="858473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6">
            <a:extLst>
              <a:ext uri="{FF2B5EF4-FFF2-40B4-BE49-F238E27FC236}">
                <a16:creationId xmlns:a16="http://schemas.microsoft.com/office/drawing/2014/main" id="{C34D8093-FEE1-80A3-AA26-838FB6EAB2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053" y="2623078"/>
            <a:ext cx="1327522" cy="978664"/>
          </a:xfrm>
          <a:prstGeom prst="rect">
            <a:avLst/>
          </a:prstGeom>
          <a:noFill/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275F980F-CCAE-09B6-9763-A381E0538E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2862" y="183799"/>
            <a:ext cx="1482970" cy="980555"/>
          </a:xfrm>
          <a:prstGeom prst="rect">
            <a:avLst/>
          </a:prstGeom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97418D5D-9E49-144C-86C3-51EF441C3E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0798" y="214463"/>
            <a:ext cx="1238739" cy="1316658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8C03C648-EF34-9604-D429-B9CB6E4695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7108" y="702391"/>
            <a:ext cx="1159608" cy="932962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0EB96F39-AAB8-61CF-808A-D996C06D7A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8015" y="151652"/>
            <a:ext cx="1473200" cy="151377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2D7FA89-68E4-51A3-C596-6C721E71A7BF}"/>
              </a:ext>
            </a:extLst>
          </p:cNvPr>
          <p:cNvSpPr txBox="1"/>
          <p:nvPr/>
        </p:nvSpPr>
        <p:spPr>
          <a:xfrm>
            <a:off x="1588477" y="1295400"/>
            <a:ext cx="274320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b="1"/>
              <a:t>Timeplan/kalender</a:t>
            </a:r>
            <a:endParaRPr lang="en-US" b="1"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7ED7727-40DB-5914-751F-70D74312A247}"/>
              </a:ext>
            </a:extLst>
          </p:cNvPr>
          <p:cNvSpPr txBox="1"/>
          <p:nvPr/>
        </p:nvSpPr>
        <p:spPr>
          <a:xfrm>
            <a:off x="4187092" y="1715477"/>
            <a:ext cx="2743200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b="1"/>
              <a:t>Emnesider (på uio.no</a:t>
            </a:r>
            <a:r>
              <a:rPr lang="nb-NO" sz="1100" b="1"/>
              <a:t>)</a:t>
            </a:r>
            <a:r>
              <a:rPr lang="en-US" sz="1100" b="1">
                <a:cs typeface="Arial"/>
              </a:rPr>
              <a:t>​</a:t>
            </a:r>
            <a:endParaRPr lang="en-US" b="1"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CD2BC7-8D85-4E4C-AE46-0074BDEA6232}"/>
              </a:ext>
            </a:extLst>
          </p:cNvPr>
          <p:cNvSpPr txBox="1"/>
          <p:nvPr/>
        </p:nvSpPr>
        <p:spPr>
          <a:xfrm>
            <a:off x="6277707" y="1459480"/>
            <a:ext cx="2743200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b="1"/>
              <a:t>Programnettsider (på uio.no</a:t>
            </a:r>
            <a:r>
              <a:rPr lang="nb-NO" sz="1100" b="1"/>
              <a:t>)</a:t>
            </a:r>
            <a:r>
              <a:rPr lang="en-US" sz="1100" b="1">
                <a:cs typeface="Arial"/>
              </a:rPr>
              <a:t>​</a:t>
            </a:r>
            <a:endParaRPr lang="en-US" b="1">
              <a:cs typeface="Arial"/>
            </a:endParaRPr>
          </a:p>
        </p:txBody>
      </p:sp>
      <p:pic>
        <p:nvPicPr>
          <p:cNvPr id="12" name="Picture 12">
            <a:extLst>
              <a:ext uri="{FF2B5EF4-FFF2-40B4-BE49-F238E27FC236}">
                <a16:creationId xmlns:a16="http://schemas.microsoft.com/office/drawing/2014/main" id="{E2DE948D-E553-6D50-46E7-39B6011413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2861" y="4912768"/>
            <a:ext cx="1805354" cy="1096462"/>
          </a:xfrm>
          <a:prstGeom prst="rect">
            <a:avLst/>
          </a:prstGeom>
        </p:spPr>
      </p:pic>
      <p:pic>
        <p:nvPicPr>
          <p:cNvPr id="13" name="Picture 13">
            <a:extLst>
              <a:ext uri="{FF2B5EF4-FFF2-40B4-BE49-F238E27FC236}">
                <a16:creationId xmlns:a16="http://schemas.microsoft.com/office/drawing/2014/main" id="{8E1E783E-5330-B5EB-9B8B-A4A4CA33CC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8785" y="4989653"/>
            <a:ext cx="1649047" cy="483539"/>
          </a:xfrm>
          <a:prstGeom prst="rect">
            <a:avLst/>
          </a:prstGeom>
        </p:spPr>
      </p:pic>
      <p:pic>
        <p:nvPicPr>
          <p:cNvPr id="14" name="Picture 14">
            <a:extLst>
              <a:ext uri="{FF2B5EF4-FFF2-40B4-BE49-F238E27FC236}">
                <a16:creationId xmlns:a16="http://schemas.microsoft.com/office/drawing/2014/main" id="{B4CDD90D-D971-65CA-3A63-0D8EDDBE47A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00463" y="5654431"/>
            <a:ext cx="1186229" cy="414216"/>
          </a:xfrm>
          <a:prstGeom prst="rect">
            <a:avLst/>
          </a:prstGeom>
        </p:spPr>
      </p:pic>
      <p:pic>
        <p:nvPicPr>
          <p:cNvPr id="15" name="Picture 15">
            <a:extLst>
              <a:ext uri="{FF2B5EF4-FFF2-40B4-BE49-F238E27FC236}">
                <a16:creationId xmlns:a16="http://schemas.microsoft.com/office/drawing/2014/main" id="{2B90C1F3-54CF-E5FF-5859-237CEA6ED31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51732" y="5441704"/>
            <a:ext cx="1127614" cy="644281"/>
          </a:xfrm>
          <a:prstGeom prst="rect">
            <a:avLst/>
          </a:prstGeom>
        </p:spPr>
      </p:pic>
      <p:pic>
        <p:nvPicPr>
          <p:cNvPr id="17" name="Picture 17">
            <a:extLst>
              <a:ext uri="{FF2B5EF4-FFF2-40B4-BE49-F238E27FC236}">
                <a16:creationId xmlns:a16="http://schemas.microsoft.com/office/drawing/2014/main" id="{568F8689-EBE8-CC08-6D6A-F8A447A1F43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60943" y="5555517"/>
            <a:ext cx="1376729" cy="309197"/>
          </a:xfrm>
          <a:prstGeom prst="rect">
            <a:avLst/>
          </a:prstGeom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D459B0A7-65F7-B99F-D408-4E8136B60BA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00209" y="5337874"/>
            <a:ext cx="1362075" cy="381000"/>
          </a:xfrm>
          <a:prstGeom prst="rect">
            <a:avLst/>
          </a:prstGeom>
        </p:spPr>
      </p:pic>
      <p:pic>
        <p:nvPicPr>
          <p:cNvPr id="19" name="Picture 19">
            <a:extLst>
              <a:ext uri="{FF2B5EF4-FFF2-40B4-BE49-F238E27FC236}">
                <a16:creationId xmlns:a16="http://schemas.microsoft.com/office/drawing/2014/main" id="{C4C159F7-3144-97A8-798B-9EC2E460244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230075" y="4635253"/>
            <a:ext cx="1524000" cy="666750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6C336E9E-0DDF-CFB1-B651-9E17754D3D3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38448" y="3705537"/>
            <a:ext cx="1805355" cy="783174"/>
          </a:xfrm>
          <a:prstGeom prst="rect">
            <a:avLst/>
          </a:prstGeom>
        </p:spPr>
      </p:pic>
      <p:cxnSp>
        <p:nvCxnSpPr>
          <p:cNvPr id="20" name="Straight Connector 66">
            <a:extLst>
              <a:ext uri="{FF2B5EF4-FFF2-40B4-BE49-F238E27FC236}">
                <a16:creationId xmlns:a16="http://schemas.microsoft.com/office/drawing/2014/main" id="{E66A30A9-6CBE-5BA7-462E-1A72586C0592}"/>
              </a:ext>
            </a:extLst>
          </p:cNvPr>
          <p:cNvCxnSpPr>
            <a:cxnSpLocks/>
          </p:cNvCxnSpPr>
          <p:nvPr/>
        </p:nvCxnSpPr>
        <p:spPr>
          <a:xfrm>
            <a:off x="9868855" y="3084338"/>
            <a:ext cx="566037" cy="43787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ktangel: avrundede hjørner 27">
            <a:extLst>
              <a:ext uri="{FF2B5EF4-FFF2-40B4-BE49-F238E27FC236}">
                <a16:creationId xmlns:a16="http://schemas.microsoft.com/office/drawing/2014/main" id="{9E64188D-2041-AE6A-EEC9-5BB9B58759EB}"/>
              </a:ext>
            </a:extLst>
          </p:cNvPr>
          <p:cNvSpPr/>
          <p:nvPr/>
        </p:nvSpPr>
        <p:spPr>
          <a:xfrm>
            <a:off x="2409244" y="2513709"/>
            <a:ext cx="7199914" cy="107663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3" name="Picture 6">
            <a:extLst>
              <a:ext uri="{FF2B5EF4-FFF2-40B4-BE49-F238E27FC236}">
                <a16:creationId xmlns:a16="http://schemas.microsoft.com/office/drawing/2014/main" id="{8D1B9895-2E75-2EDF-D3B1-FB3F187F620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8197" y="3641599"/>
            <a:ext cx="1864859" cy="806145"/>
          </a:xfrm>
          <a:prstGeom prst="rect">
            <a:avLst/>
          </a:prstGeom>
        </p:spPr>
      </p:pic>
      <p:cxnSp>
        <p:nvCxnSpPr>
          <p:cNvPr id="34" name="Straight Connector 66">
            <a:extLst>
              <a:ext uri="{FF2B5EF4-FFF2-40B4-BE49-F238E27FC236}">
                <a16:creationId xmlns:a16="http://schemas.microsoft.com/office/drawing/2014/main" id="{912E8C27-A5C1-6B34-4630-DB5FD8C44EDE}"/>
              </a:ext>
            </a:extLst>
          </p:cNvPr>
          <p:cNvCxnSpPr>
            <a:cxnSpLocks/>
          </p:cNvCxnSpPr>
          <p:nvPr/>
        </p:nvCxnSpPr>
        <p:spPr>
          <a:xfrm flipH="1">
            <a:off x="1932001" y="3478597"/>
            <a:ext cx="395597" cy="273818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4">
            <a:extLst>
              <a:ext uri="{FF2B5EF4-FFF2-40B4-BE49-F238E27FC236}">
                <a16:creationId xmlns:a16="http://schemas.microsoft.com/office/drawing/2014/main" id="{42EAE1F1-6ECA-E8FC-04D1-98D7863D36F2}"/>
              </a:ext>
            </a:extLst>
          </p:cNvPr>
          <p:cNvCxnSpPr>
            <a:cxnSpLocks/>
          </p:cNvCxnSpPr>
          <p:nvPr/>
        </p:nvCxnSpPr>
        <p:spPr>
          <a:xfrm>
            <a:off x="9559696" y="3797389"/>
            <a:ext cx="422406" cy="782965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Bilde 26">
            <a:extLst>
              <a:ext uri="{FF2B5EF4-FFF2-40B4-BE49-F238E27FC236}">
                <a16:creationId xmlns:a16="http://schemas.microsoft.com/office/drawing/2014/main" id="{CCE3B951-1ABF-1827-CFDB-0AFA154EC75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33412" y="1864401"/>
            <a:ext cx="1642145" cy="1187623"/>
          </a:xfrm>
          <a:prstGeom prst="rect">
            <a:avLst/>
          </a:prstGeom>
        </p:spPr>
      </p:pic>
      <p:cxnSp>
        <p:nvCxnSpPr>
          <p:cNvPr id="29" name="Straight Connector 25">
            <a:extLst>
              <a:ext uri="{FF2B5EF4-FFF2-40B4-BE49-F238E27FC236}">
                <a16:creationId xmlns:a16="http://schemas.microsoft.com/office/drawing/2014/main" id="{B0746767-6364-F89B-0FDA-697A7EF8D96E}"/>
              </a:ext>
            </a:extLst>
          </p:cNvPr>
          <p:cNvCxnSpPr>
            <a:cxnSpLocks/>
          </p:cNvCxnSpPr>
          <p:nvPr/>
        </p:nvCxnSpPr>
        <p:spPr>
          <a:xfrm flipH="1" flipV="1">
            <a:off x="1998785" y="2506255"/>
            <a:ext cx="328813" cy="200568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034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45a9c032-1c21-4297-bc4a-1b0e359a6c15"/>
    <ds:schemaRef ds:uri="e5e35b8c-bb2a-40e7-acd7-beed1d1f14b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718</TotalTime>
  <Words>1304</Words>
  <Application>Microsoft Office PowerPoint</Application>
  <PresentationFormat>Widescreen</PresentationFormat>
  <Paragraphs>242</Paragraphs>
  <Slides>37</Slides>
  <Notes>13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7</vt:i4>
      </vt:variant>
    </vt:vector>
  </HeadingPairs>
  <TitlesOfParts>
    <vt:vector size="46" baseType="lpstr">
      <vt:lpstr>Arial</vt:lpstr>
      <vt:lpstr>Arial, sans-serif</vt:lpstr>
      <vt:lpstr>Arial,Sans-Serif</vt:lpstr>
      <vt:lpstr>Calibri</vt:lpstr>
      <vt:lpstr>Helvetica Neue</vt:lpstr>
      <vt:lpstr>Helvetica Neue Thin</vt:lpstr>
      <vt:lpstr>Wingdings</vt:lpstr>
      <vt:lpstr>Office Theme</vt:lpstr>
      <vt:lpstr>think-cell Slide</vt:lpstr>
      <vt:lpstr>LMU Mine Studier og Canvas</vt:lpstr>
      <vt:lpstr>Agenda</vt:lpstr>
      <vt:lpstr>DLM 2030</vt:lpstr>
      <vt:lpstr>Digitalt læringsmiljø 2030</vt:lpstr>
      <vt:lpstr>Mine Studier</vt:lpstr>
      <vt:lpstr>Når du er UiO-student kan  kommunikasjonen med UiO se slik ut: </vt:lpstr>
      <vt:lpstr>Et mylder av verktøy og informasjonskanaler du må forholde deg til:</vt:lpstr>
      <vt:lpstr>PowerPoint-presentasjon</vt:lpstr>
      <vt:lpstr>PowerPoint-presentasjon</vt:lpstr>
      <vt:lpstr>Mine studier:  Persontilpasset inngangsvei til det digitale læringsmiljøet </vt:lpstr>
      <vt:lpstr>Studiestart</vt:lpstr>
      <vt:lpstr>PowerPoint-presentasjon</vt:lpstr>
      <vt:lpstr>Nye studenter får studiestart-programmet sitt i timeplanen</vt:lpstr>
      <vt:lpstr>Sjekkliste for studiestart i Mine studier</vt:lpstr>
      <vt:lpstr>Studiestart Sjekkliste og studiestartprogram i timeplanen Mål: Trygge studentene og gi dem en god overgang til studielivet </vt:lpstr>
      <vt:lpstr>82%  av semesterregistrerte studenter logget på Mine studier minst én gang høsten 2022 </vt:lpstr>
      <vt:lpstr>PowerPoint-presentasjon</vt:lpstr>
      <vt:lpstr>PowerPoint-presentasjon</vt:lpstr>
      <vt:lpstr>PowerPoint-presentasjon</vt:lpstr>
      <vt:lpstr>Ambassadør-forum for ansatte</vt:lpstr>
      <vt:lpstr>Ambassadør-forum for ansatte</vt:lpstr>
      <vt:lpstr>PowerPoint-presentasjon</vt:lpstr>
      <vt:lpstr>August 2023 vs 2022</vt:lpstr>
      <vt:lpstr>PowerPoint-presentasjon</vt:lpstr>
      <vt:lpstr>PowerPoint-presentasjon</vt:lpstr>
      <vt:lpstr>Hva jobber vi med fremover?</vt:lpstr>
      <vt:lpstr>Prioriteringer høsten 2023 og muligheter fremover</vt:lpstr>
      <vt:lpstr>Canvas</vt:lpstr>
      <vt:lpstr>Canvas</vt:lpstr>
      <vt:lpstr>Canvas</vt:lpstr>
      <vt:lpstr>Canvas på UiO</vt:lpstr>
      <vt:lpstr>Tredjepartsverktøy for Canvas </vt:lpstr>
      <vt:lpstr>Tre anskaffelser i regi av SIKT</vt:lpstr>
      <vt:lpstr>Tidsplan</vt:lpstr>
      <vt:lpstr>Anbefalingen fra DLM2030</vt:lpstr>
      <vt:lpstr>Fordeler med Canvas     </vt:lpstr>
      <vt:lpstr>PowerPoint-presentasjo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e-Lise Lande</dc:creator>
  <cp:lastModifiedBy>Lise Egenberg</cp:lastModifiedBy>
  <cp:revision>103</cp:revision>
  <dcterms:created xsi:type="dcterms:W3CDTF">2023-10-09T06:39:28Z</dcterms:created>
  <dcterms:modified xsi:type="dcterms:W3CDTF">2023-11-06T11:5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